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mp4" ContentType="video/mp4"/>
  <Default Extension="png" ContentType="image/png"/>
  <Default Extension="rels" ContentType="application/vnd.openxmlformats-package.relationships+xml"/>
  <Default Extension="tiff" ContentType="image/tif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heme/theme2.xml" ContentType="application/vnd.openxmlformats-officedocument.theme+xml"/>
  <Override PartName="/ppt/ink/ink1.xml" ContentType="application/inkml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1.xml" ContentType="application/vnd.openxmlformats-officedocument.presentationml.notesSlide+xml"/>
  <Override PartName="/ppt/tags/tag15.xml" ContentType="application/vnd.openxmlformats-officedocument.presentationml.tags+xml"/>
  <Override PartName="/ppt/notesSlides/notesSlide2.xml" ContentType="application/vnd.openxmlformats-officedocument.presentationml.notesSlide+xml"/>
  <Override PartName="/ppt/tags/tag16.xml" ContentType="application/vnd.openxmlformats-officedocument.presentationml.tags+xml"/>
  <Override PartName="/ppt/notesSlides/notesSlide3.xml" ContentType="application/vnd.openxmlformats-officedocument.presentationml.notesSlid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4"/>
  </p:sldMasterIdLst>
  <p:notesMasterIdLst>
    <p:notesMasterId r:id="rId27"/>
  </p:notesMasterIdLst>
  <p:sldIdLst>
    <p:sldId id="259" r:id="rId5"/>
    <p:sldId id="286" r:id="rId6"/>
    <p:sldId id="287" r:id="rId7"/>
    <p:sldId id="294" r:id="rId8"/>
    <p:sldId id="288" r:id="rId9"/>
    <p:sldId id="2147483092" r:id="rId10"/>
    <p:sldId id="290" r:id="rId11"/>
    <p:sldId id="2147483093" r:id="rId12"/>
    <p:sldId id="291" r:id="rId13"/>
    <p:sldId id="2147483090" r:id="rId14"/>
    <p:sldId id="2147483091" r:id="rId15"/>
    <p:sldId id="2147473185" r:id="rId16"/>
    <p:sldId id="2147483094" r:id="rId17"/>
    <p:sldId id="2147483095" r:id="rId18"/>
    <p:sldId id="2147481364" r:id="rId19"/>
    <p:sldId id="2147481367" r:id="rId20"/>
    <p:sldId id="2147483096" r:id="rId21"/>
    <p:sldId id="2147483097" r:id="rId22"/>
    <p:sldId id="2147483098" r:id="rId23"/>
    <p:sldId id="2147483099" r:id="rId24"/>
    <p:sldId id="2147483100" r:id="rId25"/>
    <p:sldId id="2147483101" r:id="rId26"/>
  </p:sldIdLst>
  <p:sldSz cx="12192000" cy="6858000"/>
  <p:notesSz cx="6797675" cy="9872663"/>
  <p:custDataLst>
    <p:tags r:id="rId28"/>
  </p:custDataLst>
  <p:defaultTextStyle>
    <a:defPPr>
      <a:defRPr lang="en-US"/>
    </a:defPPr>
    <a:lvl1pPr marL="0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1pPr>
    <a:lvl2pPr marL="511984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2pPr>
    <a:lvl3pPr marL="1023967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3pPr>
    <a:lvl4pPr marL="1535951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4pPr>
    <a:lvl5pPr marL="2047934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5pPr>
    <a:lvl6pPr marL="2559918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6pPr>
    <a:lvl7pPr marL="3071901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7pPr>
    <a:lvl8pPr marL="3583884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8pPr>
    <a:lvl9pPr marL="4095868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3109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Charlotte Vittrup" initials="CV" lastIdx="44" clrIdx="0">
    <p:extLst>
      <p:ext uri="{19B8F6BF-5375-455C-9EA6-DF929625EA0E}">
        <p15:presenceInfo xmlns:p15="http://schemas.microsoft.com/office/powerpoint/2012/main" userId="S-1-5-21-2455030247-886758136-1406340923-94286" providerId="AD"/>
      </p:ext>
    </p:extLst>
  </p:cmAuthor>
  <p:cmAuthor id="2" name="Lars Chrois" initials="LC" lastIdx="26" clrIdx="1">
    <p:extLst>
      <p:ext uri="{19B8F6BF-5375-455C-9EA6-DF929625EA0E}">
        <p15:presenceInfo xmlns:p15="http://schemas.microsoft.com/office/powerpoint/2012/main" userId="3ee1608269410e27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997A4"/>
    <a:srgbClr val="7C878E"/>
    <a:srgbClr val="000000"/>
    <a:srgbClr val="979797"/>
    <a:srgbClr val="4B4F54"/>
    <a:srgbClr val="606A70"/>
    <a:srgbClr val="D4CFBE"/>
    <a:srgbClr val="82827E"/>
    <a:srgbClr val="DDCFBF"/>
    <a:srgbClr val="0547D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E8E65540-F9DC-D2DC-41E5-4C6AD9F2AEC1}" v="6" dt="2025-02-25T10:32:28.288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slideViewPr>
    <p:cSldViewPr snapToGrid="0">
      <p:cViewPr>
        <p:scale>
          <a:sx n="1" d="2"/>
          <a:sy n="1" d="2"/>
        </p:scale>
        <p:origin x="0" y="0"/>
      </p:cViewPr>
      <p:guideLst/>
    </p:cSldViewPr>
  </p:slide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3109"/>
        <p:guide pos="2141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microsoft.com/office/2016/11/relationships/changesInfo" Target="changesInfos/changesInfo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commentAuthors" Target="commentAuthor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tags" Target="tags/tag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notesMaster" Target="notesMasters/notesMaster1.xml"/><Relationship Id="rId30" Type="http://schemas.openxmlformats.org/officeDocument/2006/relationships/presProps" Target="presProps.xml"/><Relationship Id="rId35" Type="http://schemas.microsoft.com/office/2015/10/relationships/revisionInfo" Target="revisionInfo.xml"/><Relationship Id="rId8" Type="http://schemas.openxmlformats.org/officeDocument/2006/relationships/slide" Target="slides/slide4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Olivia Moore" userId="S::omoore@nilfisk.com::c79b40f9-21eb-4631-b2ed-a33620a58e56" providerId="AD" clId="Web-{ACB32393-6479-957D-4176-208E29345F8B}"/>
    <pc:docChg chg="modSld">
      <pc:chgData name="Olivia Moore" userId="S::omoore@nilfisk.com::c79b40f9-21eb-4631-b2ed-a33620a58e56" providerId="AD" clId="Web-{ACB32393-6479-957D-4176-208E29345F8B}" dt="2025-01-03T08:35:14.196" v="0"/>
      <pc:docMkLst>
        <pc:docMk/>
      </pc:docMkLst>
      <pc:sldChg chg="delSp">
        <pc:chgData name="Olivia Moore" userId="S::omoore@nilfisk.com::c79b40f9-21eb-4631-b2ed-a33620a58e56" providerId="AD" clId="Web-{ACB32393-6479-957D-4176-208E29345F8B}" dt="2025-01-03T08:35:14.196" v="0"/>
        <pc:sldMkLst>
          <pc:docMk/>
          <pc:sldMk cId="3787819828" sldId="2147483092"/>
        </pc:sldMkLst>
        <pc:spChg chg="del">
          <ac:chgData name="Olivia Moore" userId="S::omoore@nilfisk.com::c79b40f9-21eb-4631-b2ed-a33620a58e56" providerId="AD" clId="Web-{ACB32393-6479-957D-4176-208E29345F8B}" dt="2025-01-03T08:35:14.196" v="0"/>
          <ac:spMkLst>
            <pc:docMk/>
            <pc:sldMk cId="3787819828" sldId="2147483092"/>
            <ac:spMk id="15" creationId="{B34BA2B4-1083-357E-3701-8B92912B9A82}"/>
          </ac:spMkLst>
        </pc:spChg>
      </pc:sldChg>
    </pc:docChg>
  </pc:docChgLst>
  <pc:docChgLst>
    <pc:chgData name="Olivia Moore" userId="S::omoore@nilfisk.com::c79b40f9-21eb-4631-b2ed-a33620a58e56" providerId="AD" clId="Web-{E8E65540-F9DC-D2DC-41E5-4C6AD9F2AEC1}"/>
    <pc:docChg chg="modSld">
      <pc:chgData name="Olivia Moore" userId="S::omoore@nilfisk.com::c79b40f9-21eb-4631-b2ed-a33620a58e56" providerId="AD" clId="Web-{E8E65540-F9DC-D2DC-41E5-4C6AD9F2AEC1}" dt="2025-02-25T10:32:28.288" v="5" actId="20577"/>
      <pc:docMkLst>
        <pc:docMk/>
      </pc:docMkLst>
      <pc:sldChg chg="addSp delSp modSp addAnim delAnim">
        <pc:chgData name="Olivia Moore" userId="S::omoore@nilfisk.com::c79b40f9-21eb-4631-b2ed-a33620a58e56" providerId="AD" clId="Web-{E8E65540-F9DC-D2DC-41E5-4C6AD9F2AEC1}" dt="2025-02-25T10:32:28.288" v="5" actId="20577"/>
        <pc:sldMkLst>
          <pc:docMk/>
          <pc:sldMk cId="834653872" sldId="2147483094"/>
        </pc:sldMkLst>
        <pc:spChg chg="mod">
          <ac:chgData name="Olivia Moore" userId="S::omoore@nilfisk.com::c79b40f9-21eb-4631-b2ed-a33620a58e56" providerId="AD" clId="Web-{E8E65540-F9DC-D2DC-41E5-4C6AD9F2AEC1}" dt="2025-02-25T10:32:28.288" v="5" actId="20577"/>
          <ac:spMkLst>
            <pc:docMk/>
            <pc:sldMk cId="834653872" sldId="2147483094"/>
            <ac:spMk id="8" creationId="{F880E776-EF4E-D185-1017-25BD12BC0FF7}"/>
          </ac:spMkLst>
        </pc:spChg>
        <pc:picChg chg="del">
          <ac:chgData name="Olivia Moore" userId="S::omoore@nilfisk.com::c79b40f9-21eb-4631-b2ed-a33620a58e56" providerId="AD" clId="Web-{E8E65540-F9DC-D2DC-41E5-4C6AD9F2AEC1}" dt="2025-02-25T10:24:18.147" v="0"/>
          <ac:picMkLst>
            <pc:docMk/>
            <pc:sldMk cId="834653872" sldId="2147483094"/>
            <ac:picMk id="2" creationId="{0D2E4467-902D-AEBB-5B26-C1511E965287}"/>
          </ac:picMkLst>
        </pc:picChg>
        <pc:picChg chg="add mod">
          <ac:chgData name="Olivia Moore" userId="S::omoore@nilfisk.com::c79b40f9-21eb-4631-b2ed-a33620a58e56" providerId="AD" clId="Web-{E8E65540-F9DC-D2DC-41E5-4C6AD9F2AEC1}" dt="2025-02-25T10:24:36.366" v="3" actId="1076"/>
          <ac:picMkLst>
            <pc:docMk/>
            <pc:sldMk cId="834653872" sldId="2147483094"/>
            <ac:picMk id="3" creationId="{8FC951C5-2A8E-89A8-1F68-1C7FE2BDDA61}"/>
          </ac:picMkLst>
        </pc:picChg>
      </pc:sldChg>
    </pc:docChg>
  </pc:docChgLst>
  <pc:docChgLst>
    <pc:chgData name="Olivia Moore" userId="S::omoore@nilfisk.com::c79b40f9-21eb-4631-b2ed-a33620a58e56" providerId="AD" clId="Web-{A2CC24D0-D6CB-59ED-5B67-AF9DAD40C579}"/>
    <pc:docChg chg="modSld">
      <pc:chgData name="Olivia Moore" userId="S::omoore@nilfisk.com::c79b40f9-21eb-4631-b2ed-a33620a58e56" providerId="AD" clId="Web-{A2CC24D0-D6CB-59ED-5B67-AF9DAD40C579}" dt="2025-01-31T13:23:09.227" v="9"/>
      <pc:docMkLst>
        <pc:docMk/>
      </pc:docMkLst>
      <pc:sldChg chg="addSp delSp modSp addAnim">
        <pc:chgData name="Olivia Moore" userId="S::omoore@nilfisk.com::c79b40f9-21eb-4631-b2ed-a33620a58e56" providerId="AD" clId="Web-{A2CC24D0-D6CB-59ED-5B67-AF9DAD40C579}" dt="2025-01-31T13:19:08.156" v="4" actId="20577"/>
        <pc:sldMkLst>
          <pc:docMk/>
          <pc:sldMk cId="834653872" sldId="2147483094"/>
        </pc:sldMkLst>
        <pc:spChg chg="mod">
          <ac:chgData name="Olivia Moore" userId="S::omoore@nilfisk.com::c79b40f9-21eb-4631-b2ed-a33620a58e56" providerId="AD" clId="Web-{A2CC24D0-D6CB-59ED-5B67-AF9DAD40C579}" dt="2025-01-31T13:19:08.156" v="4" actId="20577"/>
          <ac:spMkLst>
            <pc:docMk/>
            <pc:sldMk cId="834653872" sldId="2147483094"/>
            <ac:spMk id="9" creationId="{E56C669D-4C74-727F-4515-C8A108860E1F}"/>
          </ac:spMkLst>
        </pc:spChg>
        <pc:spChg chg="del">
          <ac:chgData name="Olivia Moore" userId="S::omoore@nilfisk.com::c79b40f9-21eb-4631-b2ed-a33620a58e56" providerId="AD" clId="Web-{A2CC24D0-D6CB-59ED-5B67-AF9DAD40C579}" dt="2025-01-31T13:18:43.608" v="0"/>
          <ac:spMkLst>
            <pc:docMk/>
            <pc:sldMk cId="834653872" sldId="2147483094"/>
            <ac:spMk id="10" creationId="{46B57EEA-8452-778A-D9FD-632B3625C95A}"/>
          </ac:spMkLst>
        </pc:spChg>
        <pc:picChg chg="add mod">
          <ac:chgData name="Olivia Moore" userId="S::omoore@nilfisk.com::c79b40f9-21eb-4631-b2ed-a33620a58e56" providerId="AD" clId="Web-{A2CC24D0-D6CB-59ED-5B67-AF9DAD40C579}" dt="2025-01-31T13:19:04.875" v="3" actId="1076"/>
          <ac:picMkLst>
            <pc:docMk/>
            <pc:sldMk cId="834653872" sldId="2147483094"/>
            <ac:picMk id="2" creationId="{0D2E4467-902D-AEBB-5B26-C1511E965287}"/>
          </ac:picMkLst>
        </pc:picChg>
      </pc:sldChg>
      <pc:sldChg chg="addSp delSp modSp">
        <pc:chgData name="Olivia Moore" userId="S::omoore@nilfisk.com::c79b40f9-21eb-4631-b2ed-a33620a58e56" providerId="AD" clId="Web-{A2CC24D0-D6CB-59ED-5B67-AF9DAD40C579}" dt="2025-01-31T13:23:09.227" v="9"/>
        <pc:sldMkLst>
          <pc:docMk/>
          <pc:sldMk cId="3889187586" sldId="2147483096"/>
        </pc:sldMkLst>
        <pc:graphicFrameChg chg="add del modGraphic">
          <ac:chgData name="Olivia Moore" userId="S::omoore@nilfisk.com::c79b40f9-21eb-4631-b2ed-a33620a58e56" providerId="AD" clId="Web-{A2CC24D0-D6CB-59ED-5B67-AF9DAD40C579}" dt="2025-01-31T13:23:09.227" v="9"/>
          <ac:graphicFrameMkLst>
            <pc:docMk/>
            <pc:sldMk cId="3889187586" sldId="2147483096"/>
            <ac:graphicFrameMk id="17" creationId="{B6230B9C-D8B1-6D3D-50D0-0486AC18AE02}"/>
          </ac:graphicFrameMkLst>
        </pc:graphicFrameChg>
      </pc:sldChg>
    </pc:docChg>
  </pc:docChgLst>
  <pc:docChgLst>
    <pc:chgData name="Olivia Moore" userId="S::omoore@nilfisk.com::c79b40f9-21eb-4631-b2ed-a33620a58e56" providerId="AD" clId="Web-{5129EB5C-FFD2-4ED1-ABB2-834906DBBDA8}"/>
    <pc:docChg chg="modSld">
      <pc:chgData name="Olivia Moore" userId="S::omoore@nilfisk.com::c79b40f9-21eb-4631-b2ed-a33620a58e56" providerId="AD" clId="Web-{5129EB5C-FFD2-4ED1-ABB2-834906DBBDA8}" dt="2025-01-31T13:30:39.137" v="4531"/>
      <pc:docMkLst>
        <pc:docMk/>
      </pc:docMkLst>
      <pc:sldChg chg="addSp delSp modSp">
        <pc:chgData name="Olivia Moore" userId="S::omoore@nilfisk.com::c79b40f9-21eb-4631-b2ed-a33620a58e56" providerId="AD" clId="Web-{5129EB5C-FFD2-4ED1-ABB2-834906DBBDA8}" dt="2025-01-31T13:24:53.781" v="1982" actId="1076"/>
        <pc:sldMkLst>
          <pc:docMk/>
          <pc:sldMk cId="3889187586" sldId="2147483096"/>
        </pc:sldMkLst>
        <pc:graphicFrameChg chg="add del mod">
          <ac:chgData name="Olivia Moore" userId="S::omoore@nilfisk.com::c79b40f9-21eb-4631-b2ed-a33620a58e56" providerId="AD" clId="Web-{5129EB5C-FFD2-4ED1-ABB2-834906DBBDA8}" dt="2025-01-31T13:24:25.827" v="1143"/>
          <ac:graphicFrameMkLst>
            <pc:docMk/>
            <pc:sldMk cId="3889187586" sldId="2147483096"/>
            <ac:graphicFrameMk id="7" creationId="{4C7B177C-736C-B283-2EEE-1B4E4F71F168}"/>
          </ac:graphicFrameMkLst>
        </pc:graphicFrameChg>
        <pc:graphicFrameChg chg="mod modGraphic">
          <ac:chgData name="Olivia Moore" userId="S::omoore@nilfisk.com::c79b40f9-21eb-4631-b2ed-a33620a58e56" providerId="AD" clId="Web-{5129EB5C-FFD2-4ED1-ABB2-834906DBBDA8}" dt="2025-01-31T13:24:53.781" v="1982" actId="1076"/>
          <ac:graphicFrameMkLst>
            <pc:docMk/>
            <pc:sldMk cId="3889187586" sldId="2147483096"/>
            <ac:graphicFrameMk id="17" creationId="{B6230B9C-D8B1-6D3D-50D0-0486AC18AE02}"/>
          </ac:graphicFrameMkLst>
        </pc:graphicFrameChg>
      </pc:sldChg>
      <pc:sldChg chg="modSp">
        <pc:chgData name="Olivia Moore" userId="S::omoore@nilfisk.com::c79b40f9-21eb-4631-b2ed-a33620a58e56" providerId="AD" clId="Web-{5129EB5C-FFD2-4ED1-ABB2-834906DBBDA8}" dt="2025-01-31T13:26:11.612" v="2947" actId="1076"/>
        <pc:sldMkLst>
          <pc:docMk/>
          <pc:sldMk cId="3129396617" sldId="2147483097"/>
        </pc:sldMkLst>
        <pc:graphicFrameChg chg="mod modGraphic">
          <ac:chgData name="Olivia Moore" userId="S::omoore@nilfisk.com::c79b40f9-21eb-4631-b2ed-a33620a58e56" providerId="AD" clId="Web-{5129EB5C-FFD2-4ED1-ABB2-834906DBBDA8}" dt="2025-01-31T13:26:11.612" v="2947" actId="1076"/>
          <ac:graphicFrameMkLst>
            <pc:docMk/>
            <pc:sldMk cId="3129396617" sldId="2147483097"/>
            <ac:graphicFrameMk id="9" creationId="{AD1D3B1C-1C61-7BCA-9BEE-A3B815A3EEF6}"/>
          </ac:graphicFrameMkLst>
        </pc:graphicFrameChg>
      </pc:sldChg>
      <pc:sldChg chg="modSp">
        <pc:chgData name="Olivia Moore" userId="S::omoore@nilfisk.com::c79b40f9-21eb-4631-b2ed-a33620a58e56" providerId="AD" clId="Web-{5129EB5C-FFD2-4ED1-ABB2-834906DBBDA8}" dt="2025-01-31T13:26:34.956" v="3583" actId="1076"/>
        <pc:sldMkLst>
          <pc:docMk/>
          <pc:sldMk cId="4123267977" sldId="2147483098"/>
        </pc:sldMkLst>
        <pc:graphicFrameChg chg="mod modGraphic">
          <ac:chgData name="Olivia Moore" userId="S::omoore@nilfisk.com::c79b40f9-21eb-4631-b2ed-a33620a58e56" providerId="AD" clId="Web-{5129EB5C-FFD2-4ED1-ABB2-834906DBBDA8}" dt="2025-01-31T13:26:34.956" v="3583" actId="1076"/>
          <ac:graphicFrameMkLst>
            <pc:docMk/>
            <pc:sldMk cId="4123267977" sldId="2147483098"/>
            <ac:graphicFrameMk id="15" creationId="{70525598-6121-DE00-11D6-FF59DB7A0E89}"/>
          </ac:graphicFrameMkLst>
        </pc:graphicFrameChg>
      </pc:sldChg>
      <pc:sldChg chg="modSp">
        <pc:chgData name="Olivia Moore" userId="S::omoore@nilfisk.com::c79b40f9-21eb-4631-b2ed-a33620a58e56" providerId="AD" clId="Web-{5129EB5C-FFD2-4ED1-ABB2-834906DBBDA8}" dt="2025-01-31T13:27:19.552" v="4293" actId="1076"/>
        <pc:sldMkLst>
          <pc:docMk/>
          <pc:sldMk cId="765431188" sldId="2147483099"/>
        </pc:sldMkLst>
        <pc:graphicFrameChg chg="mod modGraphic">
          <ac:chgData name="Olivia Moore" userId="S::omoore@nilfisk.com::c79b40f9-21eb-4631-b2ed-a33620a58e56" providerId="AD" clId="Web-{5129EB5C-FFD2-4ED1-ABB2-834906DBBDA8}" dt="2025-01-31T13:27:19.552" v="4293" actId="1076"/>
          <ac:graphicFrameMkLst>
            <pc:docMk/>
            <pc:sldMk cId="765431188" sldId="2147483099"/>
            <ac:graphicFrameMk id="7" creationId="{0E797CDD-7CEB-8B6C-18C8-48D79E6937C6}"/>
          </ac:graphicFrameMkLst>
        </pc:graphicFrameChg>
      </pc:sldChg>
      <pc:sldChg chg="modSp">
        <pc:chgData name="Olivia Moore" userId="S::omoore@nilfisk.com::c79b40f9-21eb-4631-b2ed-a33620a58e56" providerId="AD" clId="Web-{5129EB5C-FFD2-4ED1-ABB2-834906DBBDA8}" dt="2025-01-31T13:30:17.058" v="4530" actId="1076"/>
        <pc:sldMkLst>
          <pc:docMk/>
          <pc:sldMk cId="1384906191" sldId="2147483100"/>
        </pc:sldMkLst>
        <pc:spChg chg="mod">
          <ac:chgData name="Olivia Moore" userId="S::omoore@nilfisk.com::c79b40f9-21eb-4631-b2ed-a33620a58e56" providerId="AD" clId="Web-{5129EB5C-FFD2-4ED1-ABB2-834906DBBDA8}" dt="2025-01-31T13:30:08.261" v="4527" actId="1076"/>
          <ac:spMkLst>
            <pc:docMk/>
            <pc:sldMk cId="1384906191" sldId="2147483100"/>
            <ac:spMk id="2" creationId="{AA4BDFD2-7180-C45D-C005-39E2D84DEC91}"/>
          </ac:spMkLst>
        </pc:spChg>
        <pc:graphicFrameChg chg="mod modGraphic">
          <ac:chgData name="Olivia Moore" userId="S::omoore@nilfisk.com::c79b40f9-21eb-4631-b2ed-a33620a58e56" providerId="AD" clId="Web-{5129EB5C-FFD2-4ED1-ABB2-834906DBBDA8}" dt="2025-01-31T13:30:17.058" v="4530" actId="1076"/>
          <ac:graphicFrameMkLst>
            <pc:docMk/>
            <pc:sldMk cId="1384906191" sldId="2147483100"/>
            <ac:graphicFrameMk id="10" creationId="{26EE3458-A28C-B948-960B-FCE1FB46C265}"/>
          </ac:graphicFrameMkLst>
        </pc:graphicFrameChg>
      </pc:sldChg>
      <pc:sldChg chg="modSp">
        <pc:chgData name="Olivia Moore" userId="S::omoore@nilfisk.com::c79b40f9-21eb-4631-b2ed-a33620a58e56" providerId="AD" clId="Web-{5129EB5C-FFD2-4ED1-ABB2-834906DBBDA8}" dt="2025-01-31T13:30:39.137" v="4531"/>
        <pc:sldMkLst>
          <pc:docMk/>
          <pc:sldMk cId="4118619159" sldId="2147483101"/>
        </pc:sldMkLst>
        <pc:graphicFrameChg chg="modGraphic">
          <ac:chgData name="Olivia Moore" userId="S::omoore@nilfisk.com::c79b40f9-21eb-4631-b2ed-a33620a58e56" providerId="AD" clId="Web-{5129EB5C-FFD2-4ED1-ABB2-834906DBBDA8}" dt="2025-01-31T13:30:39.137" v="4531"/>
          <ac:graphicFrameMkLst>
            <pc:docMk/>
            <pc:sldMk cId="4118619159" sldId="2147483101"/>
            <ac:graphicFrameMk id="10" creationId="{26EE3458-A28C-B948-960B-FCE1FB46C265}"/>
          </ac:graphicFrameMkLst>
        </pc:graphicFrameChg>
      </pc:sldChg>
    </pc:docChg>
  </pc:docChgLst>
  <pc:docChgLst>
    <pc:chgData name="Olivia Moore" userId="S::omoore@nilfisk.com::c79b40f9-21eb-4631-b2ed-a33620a58e56" providerId="AD" clId="Web-{F0BD044F-F766-1C43-F9E2-F57A17999121}"/>
    <pc:docChg chg="modSld">
      <pc:chgData name="Olivia Moore" userId="S::omoore@nilfisk.com::c79b40f9-21eb-4631-b2ed-a33620a58e56" providerId="AD" clId="Web-{F0BD044F-F766-1C43-F9E2-F57A17999121}" dt="2025-02-17T10:44:52.557" v="57" actId="20577"/>
      <pc:docMkLst>
        <pc:docMk/>
      </pc:docMkLst>
      <pc:sldChg chg="modSp">
        <pc:chgData name="Olivia Moore" userId="S::omoore@nilfisk.com::c79b40f9-21eb-4631-b2ed-a33620a58e56" providerId="AD" clId="Web-{F0BD044F-F766-1C43-F9E2-F57A17999121}" dt="2025-02-17T10:42:20.208" v="1" actId="20577"/>
        <pc:sldMkLst>
          <pc:docMk/>
          <pc:sldMk cId="1996270453" sldId="259"/>
        </pc:sldMkLst>
        <pc:spChg chg="mod">
          <ac:chgData name="Olivia Moore" userId="S::omoore@nilfisk.com::c79b40f9-21eb-4631-b2ed-a33620a58e56" providerId="AD" clId="Web-{F0BD044F-F766-1C43-F9E2-F57A17999121}" dt="2025-02-17T10:42:20.208" v="1" actId="20577"/>
          <ac:spMkLst>
            <pc:docMk/>
            <pc:sldMk cId="1996270453" sldId="259"/>
            <ac:spMk id="9" creationId="{136521AC-99D9-18E7-7863-0F25AC3E01A1}"/>
          </ac:spMkLst>
        </pc:spChg>
      </pc:sldChg>
      <pc:sldChg chg="modSp">
        <pc:chgData name="Olivia Moore" userId="S::omoore@nilfisk.com::c79b40f9-21eb-4631-b2ed-a33620a58e56" providerId="AD" clId="Web-{F0BD044F-F766-1C43-F9E2-F57A17999121}" dt="2025-02-17T10:42:49.537" v="4" actId="20577"/>
        <pc:sldMkLst>
          <pc:docMk/>
          <pc:sldMk cId="3582336861" sldId="286"/>
        </pc:sldMkLst>
        <pc:spChg chg="mod">
          <ac:chgData name="Olivia Moore" userId="S::omoore@nilfisk.com::c79b40f9-21eb-4631-b2ed-a33620a58e56" providerId="AD" clId="Web-{F0BD044F-F766-1C43-F9E2-F57A17999121}" dt="2025-02-17T10:42:49.537" v="4" actId="20577"/>
          <ac:spMkLst>
            <pc:docMk/>
            <pc:sldMk cId="3582336861" sldId="286"/>
            <ac:spMk id="35" creationId="{B6BB82AE-EF9A-2478-A45C-FD525D405235}"/>
          </ac:spMkLst>
        </pc:spChg>
      </pc:sldChg>
      <pc:sldChg chg="modSp">
        <pc:chgData name="Olivia Moore" userId="S::omoore@nilfisk.com::c79b40f9-21eb-4631-b2ed-a33620a58e56" providerId="AD" clId="Web-{F0BD044F-F766-1C43-F9E2-F57A17999121}" dt="2025-02-17T10:43:24.945" v="13" actId="20577"/>
        <pc:sldMkLst>
          <pc:docMk/>
          <pc:sldMk cId="3027436694" sldId="287"/>
        </pc:sldMkLst>
        <pc:spChg chg="mod">
          <ac:chgData name="Olivia Moore" userId="S::omoore@nilfisk.com::c79b40f9-21eb-4631-b2ed-a33620a58e56" providerId="AD" clId="Web-{F0BD044F-F766-1C43-F9E2-F57A17999121}" dt="2025-02-17T10:43:24.945" v="13" actId="20577"/>
          <ac:spMkLst>
            <pc:docMk/>
            <pc:sldMk cId="3027436694" sldId="287"/>
            <ac:spMk id="5" creationId="{54BC2C5C-26DE-A0DB-8CDA-663A459BC80E}"/>
          </ac:spMkLst>
        </pc:spChg>
        <pc:spChg chg="mod">
          <ac:chgData name="Olivia Moore" userId="S::omoore@nilfisk.com::c79b40f9-21eb-4631-b2ed-a33620a58e56" providerId="AD" clId="Web-{F0BD044F-F766-1C43-F9E2-F57A17999121}" dt="2025-02-17T10:43:11.273" v="6" actId="20577"/>
          <ac:spMkLst>
            <pc:docMk/>
            <pc:sldMk cId="3027436694" sldId="287"/>
            <ac:spMk id="8" creationId="{0B6911FA-3949-F8F4-2DE6-ECC3C347161F}"/>
          </ac:spMkLst>
        </pc:spChg>
      </pc:sldChg>
      <pc:sldChg chg="modSp">
        <pc:chgData name="Olivia Moore" userId="S::omoore@nilfisk.com::c79b40f9-21eb-4631-b2ed-a33620a58e56" providerId="AD" clId="Web-{F0BD044F-F766-1C43-F9E2-F57A17999121}" dt="2025-02-17T10:43:39.793" v="15" actId="20577"/>
        <pc:sldMkLst>
          <pc:docMk/>
          <pc:sldMk cId="3787819828" sldId="2147483092"/>
        </pc:sldMkLst>
        <pc:spChg chg="mod">
          <ac:chgData name="Olivia Moore" userId="S::omoore@nilfisk.com::c79b40f9-21eb-4631-b2ed-a33620a58e56" providerId="AD" clId="Web-{F0BD044F-F766-1C43-F9E2-F57A17999121}" dt="2025-02-17T10:43:39.793" v="15" actId="20577"/>
          <ac:spMkLst>
            <pc:docMk/>
            <pc:sldMk cId="3787819828" sldId="2147483092"/>
            <ac:spMk id="10" creationId="{6050F285-F0C2-7D25-1A53-0257E136EFCE}"/>
          </ac:spMkLst>
        </pc:spChg>
      </pc:sldChg>
      <pc:sldChg chg="modSp">
        <pc:chgData name="Olivia Moore" userId="S::omoore@nilfisk.com::c79b40f9-21eb-4631-b2ed-a33620a58e56" providerId="AD" clId="Web-{F0BD044F-F766-1C43-F9E2-F57A17999121}" dt="2025-02-17T10:44:52.557" v="57" actId="20577"/>
        <pc:sldMkLst>
          <pc:docMk/>
          <pc:sldMk cId="834653872" sldId="2147483094"/>
        </pc:sldMkLst>
        <pc:spChg chg="mod">
          <ac:chgData name="Olivia Moore" userId="S::omoore@nilfisk.com::c79b40f9-21eb-4631-b2ed-a33620a58e56" providerId="AD" clId="Web-{F0BD044F-F766-1C43-F9E2-F57A17999121}" dt="2025-02-17T10:44:52.557" v="57" actId="20577"/>
          <ac:spMkLst>
            <pc:docMk/>
            <pc:sldMk cId="834653872" sldId="2147483094"/>
            <ac:spMk id="8" creationId="{F880E776-EF4E-D185-1017-25BD12BC0FF7}"/>
          </ac:spMkLst>
        </pc:spChg>
      </pc:sldChg>
    </pc:docChg>
  </pc:docChgLst>
</pc:chgInfo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4-12-18T09:20:28.049"/>
    </inkml:context>
    <inkml:brush xml:id="br0">
      <inkml:brushProperty name="width" value="0.05" units="cm"/>
      <inkml:brushProperty name="height" value="0.05" units="cm"/>
      <inkml:brushProperty name="color" value="#008C3A"/>
    </inkml:brush>
  </inkml:definitions>
  <inkml:trace contextRef="#ctx0" brushRef="#br0">0 1 7578,'0'0'1600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7487DA-082B-4712-87EF-A52F989376F6}" type="datetimeFigureOut">
              <a:rPr lang="en-US" smtClean="0"/>
              <a:pPr/>
              <a:t>2/25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07950" y="739775"/>
            <a:ext cx="6581775" cy="37036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689515"/>
            <a:ext cx="5438140" cy="444269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377316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377316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054CEA7-A081-4B80-B0DE-E1334A21D67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023967" rtl="0" eaLnBrk="1" latinLnBrk="0" hangingPunct="1">
      <a:defRPr sz="105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511984" algn="l" defTabSz="1023967" rtl="0" eaLnBrk="1" latinLnBrk="0" hangingPunct="1">
      <a:defRPr sz="105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1023967" algn="l" defTabSz="1023967" rtl="0" eaLnBrk="1" latinLnBrk="0" hangingPunct="1">
      <a:defRPr sz="105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1535951" algn="l" defTabSz="1023967" rtl="0" eaLnBrk="1" latinLnBrk="0" hangingPunct="1">
      <a:defRPr sz="105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2047934" algn="l" defTabSz="1023967" rtl="0" eaLnBrk="1" latinLnBrk="0" hangingPunct="1">
      <a:defRPr sz="105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2559918" algn="l" defTabSz="1023967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6pPr>
    <a:lvl7pPr marL="3071901" algn="l" defTabSz="1023967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7pPr>
    <a:lvl8pPr marL="3583884" algn="l" defTabSz="1023967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8pPr>
    <a:lvl9pPr marL="4095868" algn="l" defTabSz="1023967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054CEA7-A081-4B80-B0DE-E1334A21D67A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174026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8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054CEA7-A081-4B80-B0DE-E1334A21D67A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5717065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8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054CEA7-A081-4B80-B0DE-E1334A21D67A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77025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3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3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3.emf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3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7" Type="http://schemas.openxmlformats.org/officeDocument/2006/relationships/image" Target="../media/image9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3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3.emf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o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20"/>
          <p:cNvSpPr>
            <a:spLocks noGrp="1"/>
          </p:cNvSpPr>
          <p:nvPr>
            <p:ph type="pic" sz="quarter" idx="14"/>
          </p:nvPr>
        </p:nvSpPr>
        <p:spPr>
          <a:xfrm>
            <a:off x="0" y="1"/>
            <a:ext cx="12192000" cy="6273799"/>
          </a:xfrm>
        </p:spPr>
        <p:txBody>
          <a:bodyPr tIns="1249724" anchor="ctr"/>
          <a:lstStyle>
            <a:lvl1pPr marL="0" indent="0" algn="ctr">
              <a:buNone/>
              <a:defRPr sz="1600" i="1"/>
            </a:lvl1pPr>
          </a:lstStyle>
          <a:p>
            <a:r>
              <a:rPr lang="en-US" noProof="0"/>
              <a:t>Click icon to add picture</a:t>
            </a: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9203801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4B69735F-A452-4024-977F-DD52AC156A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669851"/>
            <a:ext cx="11233150" cy="1169582"/>
          </a:xfrm>
        </p:spPr>
        <p:txBody>
          <a:bodyPr/>
          <a:lstStyle>
            <a:lvl1pPr algn="ctr">
              <a:lnSpc>
                <a:spcPts val="4000"/>
              </a:lnSpc>
              <a:defRPr sz="4000"/>
            </a:lvl1pPr>
          </a:lstStyle>
          <a:p>
            <a:r>
              <a:rPr lang="en-US"/>
              <a:t>Click to edit Presentation Headline.</a:t>
            </a:r>
            <a:br>
              <a:rPr lang="en-US"/>
            </a:br>
            <a:r>
              <a:rPr lang="en-US"/>
              <a:t>Use White or Nilfisk Dark as text color.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BBDEE45-E090-44D1-98D1-825385BC723C}"/>
              </a:ext>
            </a:extLst>
          </p:cNvPr>
          <p:cNvSpPr/>
          <p:nvPr userDrawn="1"/>
        </p:nvSpPr>
        <p:spPr>
          <a:xfrm>
            <a:off x="348343" y="6479177"/>
            <a:ext cx="975360" cy="269966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907347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Content Placeholder 18"/>
          <p:cNvSpPr>
            <a:spLocks noGrp="1"/>
          </p:cNvSpPr>
          <p:nvPr>
            <p:ph sz="quarter" idx="18"/>
          </p:nvPr>
        </p:nvSpPr>
        <p:spPr>
          <a:xfrm>
            <a:off x="479425" y="1529985"/>
            <a:ext cx="2586038" cy="4594372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64000" rIns="180000" bIns="21600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34880018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1531915"/>
            <a:ext cx="2586038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Insert content</a:t>
            </a:r>
          </a:p>
        </p:txBody>
      </p:sp>
      <p:sp>
        <p:nvSpPr>
          <p:cNvPr id="22" name="Content Placeholder 18">
            <a:extLst>
              <a:ext uri="{FF2B5EF4-FFF2-40B4-BE49-F238E27FC236}">
                <a16:creationId xmlns:a16="http://schemas.microsoft.com/office/drawing/2014/main" id="{6D336ECD-29CC-48D0-B322-298E9D3E152B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3361796" y="1529985"/>
            <a:ext cx="2586038" cy="4594372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64000" rIns="180000" bIns="21600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3" name="Text Placeholder 10">
            <a:extLst>
              <a:ext uri="{FF2B5EF4-FFF2-40B4-BE49-F238E27FC236}">
                <a16:creationId xmlns:a16="http://schemas.microsoft.com/office/drawing/2014/main" id="{7A89B6B4-D22F-43E5-8EC2-AD07CBFD8568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361795" y="1531915"/>
            <a:ext cx="2586038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Insert content</a:t>
            </a:r>
          </a:p>
        </p:txBody>
      </p:sp>
      <p:sp>
        <p:nvSpPr>
          <p:cNvPr id="24" name="Content Placeholder 18">
            <a:extLst>
              <a:ext uri="{FF2B5EF4-FFF2-40B4-BE49-F238E27FC236}">
                <a16:creationId xmlns:a16="http://schemas.microsoft.com/office/drawing/2014/main" id="{4CB7A7D7-2A49-427E-874B-C10B706C1E77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6244167" y="1529985"/>
            <a:ext cx="2586038" cy="4594372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64000" rIns="180000" bIns="21600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5" name="Text Placeholder 10">
            <a:extLst>
              <a:ext uri="{FF2B5EF4-FFF2-40B4-BE49-F238E27FC236}">
                <a16:creationId xmlns:a16="http://schemas.microsoft.com/office/drawing/2014/main" id="{706FD9DE-D534-40CE-BADF-4806A01DAC4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244166" y="1531915"/>
            <a:ext cx="2586038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Insert content</a:t>
            </a:r>
          </a:p>
        </p:txBody>
      </p:sp>
      <p:sp>
        <p:nvSpPr>
          <p:cNvPr id="26" name="Content Placeholder 18">
            <a:extLst>
              <a:ext uri="{FF2B5EF4-FFF2-40B4-BE49-F238E27FC236}">
                <a16:creationId xmlns:a16="http://schemas.microsoft.com/office/drawing/2014/main" id="{47DA4058-84EF-461D-934F-D341A5BB3D40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9126537" y="1529985"/>
            <a:ext cx="2586038" cy="4594372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64000" rIns="180000" bIns="21600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7" name="Text Placeholder 10">
            <a:extLst>
              <a:ext uri="{FF2B5EF4-FFF2-40B4-BE49-F238E27FC236}">
                <a16:creationId xmlns:a16="http://schemas.microsoft.com/office/drawing/2014/main" id="{5B11B367-A392-4D07-A3AA-FEA082E5DFB0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126537" y="1531915"/>
            <a:ext cx="2586038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Insert content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BAD02FB-189A-4BD4-8E2E-B325B0929E8F}"/>
              </a:ext>
            </a:extLst>
          </p:cNvPr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2/25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C36B14F-11E0-4889-A413-CB3C7AFF79B4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B28851-AA76-4129-AC91-31C430AE821B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0C4B6512-58D0-4126-A96F-DCE2BC492B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7" name="Title Placeholder 1">
            <a:extLst>
              <a:ext uri="{FF2B5EF4-FFF2-40B4-BE49-F238E27FC236}">
                <a16:creationId xmlns:a16="http://schemas.microsoft.com/office/drawing/2014/main" id="{164CE1CF-9577-4E95-9A2E-848CA260D9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13125988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>
            <a:extLst>
              <a:ext uri="{FF2B5EF4-FFF2-40B4-BE49-F238E27FC236}">
                <a16:creationId xmlns:a16="http://schemas.microsoft.com/office/drawing/2014/main" id="{208B418E-47E7-4CB3-9272-AFFEF9163A3D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0" y="1"/>
            <a:ext cx="12192000" cy="2488018"/>
          </a:xfrm>
        </p:spPr>
        <p:txBody>
          <a:bodyPr lIns="72000" tIns="71974" rIns="71974" bIns="72000" anchor="b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insert a picture</a:t>
            </a:r>
            <a:br>
              <a:rPr lang="en-US" noProof="0"/>
            </a:br>
            <a:r>
              <a:rPr lang="en-US" noProof="0"/>
              <a:t>Note that the picture will be inserted on top of the text placeholder.</a:t>
            </a:r>
            <a:br>
              <a:rPr lang="en-US" noProof="0"/>
            </a:br>
            <a:r>
              <a:rPr lang="en-US" noProof="0"/>
              <a:t>Therefore, in order to insert text, right click the picture and choose "Send to back"</a:t>
            </a:r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1696195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1064435" y="2805514"/>
            <a:ext cx="4269012" cy="623486"/>
          </a:xfrm>
          <a:noFill/>
        </p:spPr>
        <p:txBody>
          <a:bodyPr lIns="144000" tIns="0" rIns="144000" bIns="0" anchor="ctr">
            <a:noAutofit/>
          </a:bodyPr>
          <a:lstStyle>
            <a:lvl1pPr marL="0" indent="0" algn="ctr">
              <a:lnSpc>
                <a:spcPts val="1700"/>
              </a:lnSpc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</a:t>
            </a:r>
            <a:br>
              <a:rPr lang="en-US" noProof="0"/>
            </a:br>
            <a:r>
              <a:rPr lang="en-US" noProof="0"/>
              <a:t>Master text styles</a:t>
            </a:r>
          </a:p>
        </p:txBody>
      </p:sp>
      <p:sp>
        <p:nvSpPr>
          <p:cNvPr id="16" name="Text Placeholder 10"/>
          <p:cNvSpPr>
            <a:spLocks noGrp="1"/>
          </p:cNvSpPr>
          <p:nvPr>
            <p:ph type="body" sz="quarter" idx="17" hasCustomPrompt="1"/>
          </p:nvPr>
        </p:nvSpPr>
        <p:spPr>
          <a:xfrm>
            <a:off x="6644154" y="2803583"/>
            <a:ext cx="4267530" cy="622719"/>
          </a:xfrm>
          <a:noFill/>
        </p:spPr>
        <p:txBody>
          <a:bodyPr lIns="144000" tIns="0" rIns="144000" bIns="0" anchor="ctr">
            <a:noAutofit/>
          </a:bodyPr>
          <a:lstStyle>
            <a:lvl1pPr marL="0" indent="0" algn="ctr">
              <a:lnSpc>
                <a:spcPts val="1700"/>
              </a:lnSpc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9" name="Content Placeholder 18"/>
          <p:cNvSpPr>
            <a:spLocks noGrp="1"/>
          </p:cNvSpPr>
          <p:nvPr>
            <p:ph sz="quarter" idx="18" hasCustomPrompt="1"/>
          </p:nvPr>
        </p:nvSpPr>
        <p:spPr>
          <a:xfrm>
            <a:off x="1064435" y="3429001"/>
            <a:ext cx="4269012" cy="2748516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0" name="Content Placeholder 18"/>
          <p:cNvSpPr>
            <a:spLocks noGrp="1"/>
          </p:cNvSpPr>
          <p:nvPr>
            <p:ph sz="quarter" idx="19" hasCustomPrompt="1"/>
          </p:nvPr>
        </p:nvSpPr>
        <p:spPr>
          <a:xfrm>
            <a:off x="6644154" y="3426304"/>
            <a:ext cx="4267531" cy="2748516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92606E51-302A-402C-B20F-54F37450EF5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2824031" y="2079363"/>
            <a:ext cx="698400" cy="698238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AA946F2A-6D15-4356-AACE-77B713052445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424045" y="2079363"/>
            <a:ext cx="698400" cy="69823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4436295-A04E-410C-BC96-E703F87AF8FB}"/>
              </a:ext>
            </a:extLst>
          </p:cNvPr>
          <p:cNvSpPr>
            <a:spLocks noGrp="1"/>
          </p:cNvSpPr>
          <p:nvPr>
            <p:ph type="dt" sz="half" idx="45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2/25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0B2DE98-0117-4A18-88E2-669F6FB209A4}"/>
              </a:ext>
            </a:extLst>
          </p:cNvPr>
          <p:cNvSpPr>
            <a:spLocks noGrp="1"/>
          </p:cNvSpPr>
          <p:nvPr>
            <p:ph type="ftr" sz="quarter" idx="46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1D719EE-E991-4D3D-BAFB-EB072BFB1EEB}"/>
              </a:ext>
            </a:extLst>
          </p:cNvPr>
          <p:cNvSpPr>
            <a:spLocks noGrp="1"/>
          </p:cNvSpPr>
          <p:nvPr>
            <p:ph type="sldNum" sz="quarter" idx="4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FC155D83-CC89-488D-A2E1-DDEE95784B5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22" name="Title Placeholder 1">
            <a:extLst>
              <a:ext uri="{FF2B5EF4-FFF2-40B4-BE49-F238E27FC236}">
                <a16:creationId xmlns:a16="http://schemas.microsoft.com/office/drawing/2014/main" id="{2CEEA349-D809-4E4C-BA93-BCE8AF64CA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7616912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3">
            <a:extLst>
              <a:ext uri="{FF2B5EF4-FFF2-40B4-BE49-F238E27FC236}">
                <a16:creationId xmlns:a16="http://schemas.microsoft.com/office/drawing/2014/main" id="{004E70DC-C3D2-4252-9260-04CDF1B85E16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0" y="1"/>
            <a:ext cx="12192000" cy="2488018"/>
          </a:xfrm>
        </p:spPr>
        <p:txBody>
          <a:bodyPr lIns="72000" tIns="71974" rIns="71974" bIns="72000" anchor="b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insert a picture</a:t>
            </a:r>
            <a:br>
              <a:rPr lang="en-US" noProof="0"/>
            </a:br>
            <a:r>
              <a:rPr lang="en-US" noProof="0"/>
              <a:t>Note that the picture will be inserted on top of the text placeholder.</a:t>
            </a:r>
            <a:br>
              <a:rPr lang="en-US" noProof="0"/>
            </a:br>
            <a:r>
              <a:rPr lang="en-US" noProof="0"/>
              <a:t>Therefore, in order to insert text, right click the picture and choose "Send to back"</a:t>
            </a:r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03443689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79426" y="2914458"/>
            <a:ext cx="2725830" cy="622800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9" name="Content Placeholder 18"/>
          <p:cNvSpPr>
            <a:spLocks noGrp="1"/>
          </p:cNvSpPr>
          <p:nvPr>
            <p:ph sz="quarter" idx="18" hasCustomPrompt="1"/>
          </p:nvPr>
        </p:nvSpPr>
        <p:spPr>
          <a:xfrm>
            <a:off x="479426" y="3535328"/>
            <a:ext cx="2725830" cy="2652821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0777F5BC-90F4-414E-B27A-79BDF9D40929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428341" y="2079363"/>
            <a:ext cx="828000" cy="82800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32" name="Text Placeholder 10">
            <a:extLst>
              <a:ext uri="{FF2B5EF4-FFF2-40B4-BE49-F238E27FC236}">
                <a16:creationId xmlns:a16="http://schemas.microsoft.com/office/drawing/2014/main" id="{BD7EB420-7E8D-454A-92D5-C50919056636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3315198" y="2914458"/>
            <a:ext cx="2725830" cy="622800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3" name="Content Placeholder 18">
            <a:extLst>
              <a:ext uri="{FF2B5EF4-FFF2-40B4-BE49-F238E27FC236}">
                <a16:creationId xmlns:a16="http://schemas.microsoft.com/office/drawing/2014/main" id="{B228A39C-C8A6-4AC7-96A3-25A525A9A4F2}"/>
              </a:ext>
            </a:extLst>
          </p:cNvPr>
          <p:cNvSpPr>
            <a:spLocks noGrp="1"/>
          </p:cNvSpPr>
          <p:nvPr>
            <p:ph sz="quarter" idx="45" hasCustomPrompt="1"/>
          </p:nvPr>
        </p:nvSpPr>
        <p:spPr>
          <a:xfrm>
            <a:off x="3315199" y="3535328"/>
            <a:ext cx="2725830" cy="2652821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4" name="Text Placeholder 6">
            <a:extLst>
              <a:ext uri="{FF2B5EF4-FFF2-40B4-BE49-F238E27FC236}">
                <a16:creationId xmlns:a16="http://schemas.microsoft.com/office/drawing/2014/main" id="{47F886A1-D69F-4044-9B1C-2C721E721AFF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4264113" y="2079363"/>
            <a:ext cx="828000" cy="8280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35" name="Text Placeholder 10">
            <a:extLst>
              <a:ext uri="{FF2B5EF4-FFF2-40B4-BE49-F238E27FC236}">
                <a16:creationId xmlns:a16="http://schemas.microsoft.com/office/drawing/2014/main" id="{B89EAACB-7074-471C-BBA2-8BF0CC3E4EB9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6150970" y="2914458"/>
            <a:ext cx="2725830" cy="622800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6" name="Content Placeholder 18">
            <a:extLst>
              <a:ext uri="{FF2B5EF4-FFF2-40B4-BE49-F238E27FC236}">
                <a16:creationId xmlns:a16="http://schemas.microsoft.com/office/drawing/2014/main" id="{EB79EFFE-A060-4C8D-BD8F-E52045C9C7EF}"/>
              </a:ext>
            </a:extLst>
          </p:cNvPr>
          <p:cNvSpPr>
            <a:spLocks noGrp="1"/>
          </p:cNvSpPr>
          <p:nvPr>
            <p:ph sz="quarter" idx="48" hasCustomPrompt="1"/>
          </p:nvPr>
        </p:nvSpPr>
        <p:spPr>
          <a:xfrm>
            <a:off x="6150972" y="3535328"/>
            <a:ext cx="2725830" cy="2652821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7" name="Text Placeholder 6">
            <a:extLst>
              <a:ext uri="{FF2B5EF4-FFF2-40B4-BE49-F238E27FC236}">
                <a16:creationId xmlns:a16="http://schemas.microsoft.com/office/drawing/2014/main" id="{3BEA2D42-9FD4-4716-AB0B-9632B9F8E378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7099885" y="2079363"/>
            <a:ext cx="828000" cy="8280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38" name="Text Placeholder 10">
            <a:extLst>
              <a:ext uri="{FF2B5EF4-FFF2-40B4-BE49-F238E27FC236}">
                <a16:creationId xmlns:a16="http://schemas.microsoft.com/office/drawing/2014/main" id="{8FD4303F-49FA-457B-B244-4E8B906863CA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8986744" y="2914458"/>
            <a:ext cx="2725830" cy="622800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9" name="Content Placeholder 18">
            <a:extLst>
              <a:ext uri="{FF2B5EF4-FFF2-40B4-BE49-F238E27FC236}">
                <a16:creationId xmlns:a16="http://schemas.microsoft.com/office/drawing/2014/main" id="{03E82EC9-6A37-4D1E-933C-F9272C7F54EE}"/>
              </a:ext>
            </a:extLst>
          </p:cNvPr>
          <p:cNvSpPr>
            <a:spLocks noGrp="1"/>
          </p:cNvSpPr>
          <p:nvPr>
            <p:ph sz="quarter" idx="51" hasCustomPrompt="1"/>
          </p:nvPr>
        </p:nvSpPr>
        <p:spPr>
          <a:xfrm>
            <a:off x="8986744" y="3535328"/>
            <a:ext cx="2725830" cy="2652821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0" name="Text Placeholder 6">
            <a:extLst>
              <a:ext uri="{FF2B5EF4-FFF2-40B4-BE49-F238E27FC236}">
                <a16:creationId xmlns:a16="http://schemas.microsoft.com/office/drawing/2014/main" id="{0169E3EB-3F89-482B-9603-7497CA07EED3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9935659" y="2079363"/>
            <a:ext cx="828000" cy="82800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381527C-8083-4F64-ACF8-D0782F8C892E}"/>
              </a:ext>
            </a:extLst>
          </p:cNvPr>
          <p:cNvSpPr>
            <a:spLocks noGrp="1"/>
          </p:cNvSpPr>
          <p:nvPr>
            <p:ph type="dt" sz="half" idx="53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2/25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7F89F93-34D9-4219-91BC-313CBE6E7366}"/>
              </a:ext>
            </a:extLst>
          </p:cNvPr>
          <p:cNvSpPr>
            <a:spLocks noGrp="1"/>
          </p:cNvSpPr>
          <p:nvPr>
            <p:ph type="ftr" sz="quarter" idx="54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C6A6AB2-CD6B-4C00-BDB7-580562DE15F6}"/>
              </a:ext>
            </a:extLst>
          </p:cNvPr>
          <p:cNvSpPr>
            <a:spLocks noGrp="1"/>
          </p:cNvSpPr>
          <p:nvPr>
            <p:ph type="sldNum" sz="quarter" idx="55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B42607E9-9610-476B-930F-0A957641313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23" name="Title Placeholder 1">
            <a:extLst>
              <a:ext uri="{FF2B5EF4-FFF2-40B4-BE49-F238E27FC236}">
                <a16:creationId xmlns:a16="http://schemas.microsoft.com/office/drawing/2014/main" id="{26FADBE2-42E3-44BC-9BB9-E8F8F24A893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36861199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4888757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28" progId="TCLayout.ActiveDocument.1">
                  <p:embed/>
                </p:oleObj>
              </mc:Choice>
              <mc:Fallback>
                <p:oleObj name="think-cell Slide" r:id="rId3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C9D9593-6010-4D84-B698-3916B996FA30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2/25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8C73727-0AEF-4180-9A25-9D9E4AA4CDE0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0140819-2DD2-4C6A-B2BA-661DD2B0CB85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9F31923-D926-4EC1-927C-8708EF07DF2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9B7F5197-BFC0-474F-8B91-9B266F1A87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19130597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-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79569955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28" progId="TCLayout.ActiveDocument.1">
                  <p:embed/>
                </p:oleObj>
              </mc:Choice>
              <mc:Fallback>
                <p:oleObj name="think-cell Slide" r:id="rId3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270A7E1B-06C4-491A-A7D6-5E2BF0B762AA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205538" y="0"/>
            <a:ext cx="5986461" cy="6284890"/>
          </a:xfrm>
        </p:spPr>
        <p:txBody>
          <a:bodyPr lIns="60458" tIns="60458" rIns="60458" bIns="61200" anchor="ctr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insert a picture</a:t>
            </a:r>
          </a:p>
        </p:txBody>
      </p:sp>
      <p:sp>
        <p:nvSpPr>
          <p:cNvPr id="13" name="Text Placeholder 18">
            <a:extLst>
              <a:ext uri="{FF2B5EF4-FFF2-40B4-BE49-F238E27FC236}">
                <a16:creationId xmlns:a16="http://schemas.microsoft.com/office/drawing/2014/main" id="{6292EC8F-CA80-4608-8BBB-26EAD825248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79425" y="1412875"/>
            <a:ext cx="5507038" cy="4870450"/>
          </a:xfrm>
          <a:noFill/>
        </p:spPr>
        <p:txBody>
          <a:bodyPr lIns="0" tIns="0" rIns="0" bIns="0" anchor="t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FD0F7C6-431E-46C4-9429-A3D456CBADB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2/25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8820383-CC25-496B-BB92-273CBD649C18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0F88412-719A-4E27-BE3B-7A6D9C0B356A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AD0C1278-E9AE-4168-A595-99A55EA23DF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5507038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7B0E5E79-8AD5-4282-B864-D586098D06A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5506081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16313013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-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76385282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28" progId="TCLayout.ActiveDocument.1">
                  <p:embed/>
                </p:oleObj>
              </mc:Choice>
              <mc:Fallback>
                <p:oleObj name="think-cell Slide" r:id="rId3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 Placeholder 18">
            <a:extLst>
              <a:ext uri="{FF2B5EF4-FFF2-40B4-BE49-F238E27FC236}">
                <a16:creationId xmlns:a16="http://schemas.microsoft.com/office/drawing/2014/main" id="{EC72F5BB-D66A-4AE5-BE40-DAC7B557416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200776" y="1412875"/>
            <a:ext cx="5511800" cy="4870450"/>
          </a:xfrm>
          <a:noFill/>
        </p:spPr>
        <p:txBody>
          <a:bodyPr lIns="0" tIns="0" rIns="0" bIns="0" anchor="t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6" name="Picture Placeholder 3">
            <a:extLst>
              <a:ext uri="{FF2B5EF4-FFF2-40B4-BE49-F238E27FC236}">
                <a16:creationId xmlns:a16="http://schemas.microsoft.com/office/drawing/2014/main" id="{B5B7800E-C1F4-4988-9830-63D6CD965A31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0" y="0"/>
            <a:ext cx="5986463" cy="6283325"/>
          </a:xfrm>
        </p:spPr>
        <p:txBody>
          <a:bodyPr lIns="0" tIns="0" rIns="0" bIns="0" anchor="ctr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insert a pictur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54AC8E3-7E26-425E-8440-6C36641BAB2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2/25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22B9DD0-AE94-45C4-ABB9-A2AE218DA704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03D825D-904C-4C01-BE1D-29445C0E59F0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D08A57AA-70F0-446E-8A3A-71C82A9FED9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05539" y="873877"/>
            <a:ext cx="5505084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16E8E331-60E3-42A0-B941-83830F3205B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08447" y="494490"/>
            <a:ext cx="5504128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1917395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-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8">
            <a:extLst>
              <a:ext uri="{FF2B5EF4-FFF2-40B4-BE49-F238E27FC236}">
                <a16:creationId xmlns:a16="http://schemas.microsoft.com/office/drawing/2014/main" id="{13F9A983-C937-4508-B213-1A5EC060D73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629649" y="0"/>
            <a:ext cx="3562350" cy="6283325"/>
          </a:xfrm>
          <a:solidFill>
            <a:schemeClr val="bg2">
              <a:lumMod val="20000"/>
              <a:lumOff val="80000"/>
            </a:schemeClr>
          </a:solidFill>
        </p:spPr>
        <p:txBody>
          <a:bodyPr lIns="288000" tIns="1692000" rIns="432000" bIns="180000" anchor="t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Chart Placeholder 3">
            <a:extLst>
              <a:ext uri="{FF2B5EF4-FFF2-40B4-BE49-F238E27FC236}">
                <a16:creationId xmlns:a16="http://schemas.microsoft.com/office/drawing/2014/main" id="{BD4EEDF5-749A-4E0A-9F2C-5DB6EC42D113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473569" y="1412875"/>
            <a:ext cx="7692236" cy="4870449"/>
          </a:xfrm>
        </p:spPr>
        <p:txBody>
          <a:bodyPr/>
          <a:lstStyle/>
          <a:p>
            <a:r>
              <a:rPr lang="en-US"/>
              <a:t>Click icon to add chart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1B3F6EE-929F-475B-BA0D-BAE5642C0B50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2/25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356A101-CC96-4EEA-A848-52CCEB16DA27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8E14E5D-3CDA-4372-B95E-72D345C3A38C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3F8C0934-E3E7-4664-8099-283D222151C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7864216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54AC913B-9002-46E4-B468-3AFC28ABEC0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78628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24060036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">
            <a:extLst>
              <a:ext uri="{FF2B5EF4-FFF2-40B4-BE49-F238E27FC236}">
                <a16:creationId xmlns:a16="http://schemas.microsoft.com/office/drawing/2014/main" id="{08B08A26-BAAF-4968-8268-454F68923264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0" y="1"/>
            <a:ext cx="12192000" cy="6283324"/>
          </a:xfrm>
        </p:spPr>
        <p:txBody>
          <a:bodyPr lIns="72000" tIns="71974" rIns="71974" bIns="72000" anchor="b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insert a picture</a:t>
            </a:r>
            <a:br>
              <a:rPr lang="en-US" noProof="0"/>
            </a:br>
            <a:br>
              <a:rPr lang="en-US" noProof="0"/>
            </a:br>
            <a:r>
              <a:rPr lang="en-US" noProof="0"/>
              <a:t>Note that the picture will be inserted on top of the text placeholder.</a:t>
            </a:r>
            <a:br>
              <a:rPr lang="en-US" noProof="0"/>
            </a:br>
            <a:r>
              <a:rPr lang="en-US" noProof="0"/>
              <a:t>Therefore, in order to insert text, right click the picture and choose "Send to back"</a:t>
            </a: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278807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28" progId="TCLayout.ActiveDocument.1">
                  <p:embed/>
                </p:oleObj>
              </mc:Choice>
              <mc:Fallback>
                <p:oleObj name="think-cell Slide" r:id="rId3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2A6F7A33-E8CB-44EE-8CDF-D0B516341419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2/25/2025</a:t>
            </a:fld>
            <a:endParaRPr lang="en-US"/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B7AC1C34-2EEF-4748-B554-904EDB9E2B1A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54698D3A-A577-4AD4-9616-F4D5993A770C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5" name="Title 3">
            <a:extLst>
              <a:ext uri="{FF2B5EF4-FFF2-40B4-BE49-F238E27FC236}">
                <a16:creationId xmlns:a16="http://schemas.microsoft.com/office/drawing/2014/main" id="{E5D4A826-2FEC-4303-893D-3DA3EF3C1E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669851"/>
            <a:ext cx="11233150" cy="1169582"/>
          </a:xfrm>
        </p:spPr>
        <p:txBody>
          <a:bodyPr/>
          <a:lstStyle>
            <a:lvl1pPr algn="ctr">
              <a:lnSpc>
                <a:spcPts val="4000"/>
              </a:lnSpc>
              <a:defRPr sz="4000"/>
            </a:lvl1pPr>
          </a:lstStyle>
          <a:p>
            <a:r>
              <a:rPr lang="en-US"/>
              <a:t>Insert closing headline.</a:t>
            </a:r>
            <a:br>
              <a:rPr lang="en-US"/>
            </a:br>
            <a:r>
              <a:rPr lang="en-US"/>
              <a:t>Use white or dark colored text.</a:t>
            </a:r>
          </a:p>
        </p:txBody>
      </p:sp>
    </p:spTree>
    <p:extLst>
      <p:ext uri="{BB962C8B-B14F-4D97-AF65-F5344CB8AC3E}">
        <p14:creationId xmlns:p14="http://schemas.microsoft.com/office/powerpoint/2010/main" val="32510284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ps and corporate guide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" name="Rectangle 96">
            <a:extLst>
              <a:ext uri="{FF2B5EF4-FFF2-40B4-BE49-F238E27FC236}">
                <a16:creationId xmlns:a16="http://schemas.microsoft.com/office/drawing/2014/main" id="{908D9CAA-34CE-479D-8E34-30EAE7DFFC9C}"/>
              </a:ext>
            </a:extLst>
          </p:cNvPr>
          <p:cNvSpPr/>
          <p:nvPr userDrawn="1"/>
        </p:nvSpPr>
        <p:spPr>
          <a:xfrm>
            <a:off x="6204108" y="1014232"/>
            <a:ext cx="5516547" cy="5192393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96" name="Rectangle 95">
            <a:extLst>
              <a:ext uri="{FF2B5EF4-FFF2-40B4-BE49-F238E27FC236}">
                <a16:creationId xmlns:a16="http://schemas.microsoft.com/office/drawing/2014/main" id="{365DD7DB-93FC-4CE9-BB55-707FAD0F9441}"/>
              </a:ext>
            </a:extLst>
          </p:cNvPr>
          <p:cNvSpPr/>
          <p:nvPr userDrawn="1"/>
        </p:nvSpPr>
        <p:spPr>
          <a:xfrm>
            <a:off x="3574137" y="1014234"/>
            <a:ext cx="2534124" cy="3498544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930F4D85-8103-4DAC-83B9-2EA8A555B766}"/>
              </a:ext>
            </a:extLst>
          </p:cNvPr>
          <p:cNvSpPr/>
          <p:nvPr userDrawn="1"/>
        </p:nvSpPr>
        <p:spPr>
          <a:xfrm>
            <a:off x="479425" y="1014232"/>
            <a:ext cx="2999687" cy="3498545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pic>
        <p:nvPicPr>
          <p:cNvPr id="42" name="Picture 41">
            <a:extLst>
              <a:ext uri="{FF2B5EF4-FFF2-40B4-BE49-F238E27FC236}">
                <a16:creationId xmlns:a16="http://schemas.microsoft.com/office/drawing/2014/main" id="{C8352981-5F56-444D-A675-E830B4DDC19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8308" t="9357" r="9482" b="37471"/>
          <a:stretch/>
        </p:blipFill>
        <p:spPr>
          <a:xfrm>
            <a:off x="6469662" y="1607847"/>
            <a:ext cx="1229752" cy="1373815"/>
          </a:xfrm>
          <a:prstGeom prst="rect">
            <a:avLst/>
          </a:prstGeom>
          <a:ln w="3175">
            <a:solidFill>
              <a:schemeClr val="bg2"/>
            </a:solidFill>
          </a:ln>
        </p:spPr>
      </p:pic>
      <p:sp>
        <p:nvSpPr>
          <p:cNvPr id="11" name="TextBox 10"/>
          <p:cNvSpPr txBox="1"/>
          <p:nvPr userDrawn="1"/>
        </p:nvSpPr>
        <p:spPr>
          <a:xfrm>
            <a:off x="2068307" y="1599603"/>
            <a:ext cx="1420105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SELECT SLIDE LAYOUTS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2068308" y="1767283"/>
            <a:ext cx="1366324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Find title, agendas, section header, plain content and picture layouts: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2068309" y="2268336"/>
            <a:ext cx="1357023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</a:rPr>
              <a:t>Home </a:t>
            </a:r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  <a:sym typeface="Wingdings 3"/>
              </a:rPr>
              <a:t> </a:t>
            </a:r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</a:rPr>
              <a:t>New Slide</a:t>
            </a:r>
          </a:p>
          <a:p>
            <a:pPr defTabSz="914400"/>
            <a:endParaRPr lang="en-US" sz="800" b="0">
              <a:solidFill>
                <a:schemeClr val="tx1"/>
              </a:solidFill>
              <a:latin typeface="+mj-lt"/>
              <a:cs typeface="Arial" pitchFamily="34" charset="0"/>
            </a:endParaRPr>
          </a:p>
          <a:p>
            <a:pPr defTabSz="914400"/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</a:rPr>
              <a:t>Home </a:t>
            </a:r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  <a:sym typeface="Wingdings 3"/>
              </a:rPr>
              <a:t> </a:t>
            </a:r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</a:rPr>
              <a:t>Layout </a:t>
            </a:r>
            <a:r>
              <a:rPr lang="en-US" sz="800" b="0">
                <a:solidFill>
                  <a:schemeClr val="tx1"/>
                </a:solidFill>
                <a:latin typeface="+mn-lt"/>
                <a:cs typeface="Arial" pitchFamily="34" charset="0"/>
              </a:rPr>
              <a:t>(to change existing layout)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6359209" y="1177891"/>
            <a:ext cx="5628870" cy="266400"/>
          </a:xfrm>
          <a:prstGeom prst="rect">
            <a:avLst/>
          </a:prstGeom>
          <a:noFill/>
        </p:spPr>
        <p:txBody>
          <a:bodyPr wrap="none" lIns="108000" tIns="36000" rIns="36000" bIns="36000" rtlCol="0" anchor="ctr">
            <a:noAutofit/>
          </a:bodyPr>
          <a:lstStyle/>
          <a:p>
            <a:pPr defTabSz="914400"/>
            <a:r>
              <a:rPr lang="en-US" sz="1100" spc="30" baseline="0">
                <a:solidFill>
                  <a:schemeClr val="tx1"/>
                </a:solidFill>
                <a:latin typeface="+mj-lt"/>
                <a:cs typeface="Arial" pitchFamily="34" charset="0"/>
              </a:rPr>
              <a:t>COLORS AND EFFECTS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576969" y="1178254"/>
            <a:ext cx="2987868" cy="265460"/>
          </a:xfrm>
          <a:prstGeom prst="rect">
            <a:avLst/>
          </a:prstGeom>
          <a:noFill/>
        </p:spPr>
        <p:txBody>
          <a:bodyPr wrap="none" lIns="108000" tIns="36000" rIns="36000" bIns="36000" rtlCol="0" anchor="ctr">
            <a:noAutofit/>
          </a:bodyPr>
          <a:lstStyle/>
          <a:p>
            <a:pPr defTabSz="914400"/>
            <a:r>
              <a:rPr lang="en-US" sz="1100" spc="30" baseline="0">
                <a:solidFill>
                  <a:schemeClr val="tx1"/>
                </a:solidFill>
                <a:latin typeface="+mj-lt"/>
                <a:cs typeface="Arial" pitchFamily="34" charset="0"/>
              </a:rPr>
              <a:t>HOW TO..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6486246" y="3549534"/>
            <a:ext cx="21648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CHARTS </a:t>
            </a:r>
            <a:r>
              <a:rPr lang="en-US" sz="800">
                <a:solidFill>
                  <a:schemeClr val="tx1"/>
                </a:solidFill>
                <a:latin typeface="+mn-lt"/>
                <a:cs typeface="Arial" pitchFamily="34" charset="0"/>
              </a:rPr>
              <a:t>– DESIGN AND EFFECTS</a:t>
            </a:r>
          </a:p>
        </p:txBody>
      </p:sp>
      <p:grpSp>
        <p:nvGrpSpPr>
          <p:cNvPr id="27" name="Group 26"/>
          <p:cNvGrpSpPr/>
          <p:nvPr userDrawn="1"/>
        </p:nvGrpSpPr>
        <p:grpSpPr>
          <a:xfrm>
            <a:off x="6443768" y="2745123"/>
            <a:ext cx="1255646" cy="190805"/>
            <a:chOff x="2834640" y="3855720"/>
            <a:chExt cx="708660" cy="228600"/>
          </a:xfrm>
        </p:grpSpPr>
        <p:cxnSp>
          <p:nvCxnSpPr>
            <p:cNvPr id="28" name="Straight Connector 27"/>
            <p:cNvCxnSpPr/>
            <p:nvPr/>
          </p:nvCxnSpPr>
          <p:spPr>
            <a:xfrm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/>
          </p:nvCxnSpPr>
          <p:spPr>
            <a:xfrm flipH="1"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6" name="TextBox 35"/>
          <p:cNvSpPr txBox="1"/>
          <p:nvPr userDrawn="1"/>
        </p:nvSpPr>
        <p:spPr>
          <a:xfrm>
            <a:off x="3678523" y="1177891"/>
            <a:ext cx="2287064" cy="266400"/>
          </a:xfrm>
          <a:prstGeom prst="rect">
            <a:avLst/>
          </a:prstGeom>
          <a:noFill/>
        </p:spPr>
        <p:txBody>
          <a:bodyPr wrap="none" lIns="108000" tIns="36000" rIns="36000" bIns="36000" rtlCol="0" anchor="ctr">
            <a:noAutofit/>
          </a:bodyPr>
          <a:lstStyle/>
          <a:p>
            <a:pPr defTabSz="914400"/>
            <a:r>
              <a:rPr lang="en-US" sz="1100" spc="30" baseline="0">
                <a:solidFill>
                  <a:schemeClr val="tx1"/>
                </a:solidFill>
                <a:latin typeface="+mj-lt"/>
                <a:cs typeface="Arial" pitchFamily="34" charset="0"/>
              </a:rPr>
              <a:t>TEXT</a:t>
            </a:r>
          </a:p>
        </p:txBody>
      </p:sp>
      <p:sp>
        <p:nvSpPr>
          <p:cNvPr id="37" name="TextBox 36"/>
          <p:cNvSpPr txBox="1"/>
          <p:nvPr userDrawn="1"/>
        </p:nvSpPr>
        <p:spPr>
          <a:xfrm>
            <a:off x="3802777" y="1599603"/>
            <a:ext cx="1924081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 b="0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rPr>
              <a:t>FONT</a:t>
            </a:r>
          </a:p>
        </p:txBody>
      </p:sp>
      <p:sp>
        <p:nvSpPr>
          <p:cNvPr id="38" name="TextBox 37"/>
          <p:cNvSpPr txBox="1"/>
          <p:nvPr userDrawn="1"/>
        </p:nvSpPr>
        <p:spPr>
          <a:xfrm>
            <a:off x="3802541" y="1760575"/>
            <a:ext cx="227037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>
                <a:solidFill>
                  <a:srgbClr val="000000"/>
                </a:solidFill>
                <a:cs typeface="Arial" pitchFamily="34" charset="0"/>
              </a:rPr>
              <a:t>Roboto is used for all text</a:t>
            </a:r>
          </a:p>
        </p:txBody>
      </p:sp>
      <p:sp>
        <p:nvSpPr>
          <p:cNvPr id="39" name="TextBox 38"/>
          <p:cNvSpPr txBox="1"/>
          <p:nvPr userDrawn="1"/>
        </p:nvSpPr>
        <p:spPr>
          <a:xfrm>
            <a:off x="3802541" y="2073987"/>
            <a:ext cx="1924081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algn="l" defTabSz="914400" rtl="0" eaLnBrk="1" latinLnBrk="0" hangingPunct="1"/>
            <a:r>
              <a:rPr lang="en-US" sz="800" b="0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rPr>
              <a:t>STYLE AND SIZES</a:t>
            </a:r>
          </a:p>
        </p:txBody>
      </p:sp>
      <p:sp>
        <p:nvSpPr>
          <p:cNvPr id="40" name="TextBox 39"/>
          <p:cNvSpPr txBox="1"/>
          <p:nvPr userDrawn="1"/>
        </p:nvSpPr>
        <p:spPr>
          <a:xfrm>
            <a:off x="3802541" y="2250050"/>
            <a:ext cx="1922209" cy="47192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>
              <a:spcAft>
                <a:spcPts val="400"/>
              </a:spcAft>
            </a:pPr>
            <a:r>
              <a:rPr lang="en-US" sz="800">
                <a:solidFill>
                  <a:srgbClr val="000000"/>
                </a:solidFill>
                <a:cs typeface="Arial" pitchFamily="34" charset="0"/>
              </a:rPr>
              <a:t>Headline: Roboto Bold, size 34</a:t>
            </a:r>
          </a:p>
          <a:p>
            <a:pPr defTabSz="914400">
              <a:spcAft>
                <a:spcPts val="400"/>
              </a:spcAft>
            </a:pPr>
            <a:r>
              <a:rPr lang="en-US" sz="800">
                <a:solidFill>
                  <a:srgbClr val="000000"/>
                </a:solidFill>
                <a:cs typeface="Arial" pitchFamily="34" charset="0"/>
              </a:rPr>
              <a:t>Sub-headline: Roboto Light, size 20</a:t>
            </a:r>
          </a:p>
          <a:p>
            <a:pPr defTabSz="914400">
              <a:spcAft>
                <a:spcPts val="400"/>
              </a:spcAft>
            </a:pPr>
            <a:r>
              <a:rPr lang="en-US" sz="800">
                <a:solidFill>
                  <a:srgbClr val="000000"/>
                </a:solidFill>
                <a:cs typeface="Arial" pitchFamily="34" charset="0"/>
              </a:rPr>
              <a:t>Body text: Roboto Light, size 14</a:t>
            </a:r>
          </a:p>
        </p:txBody>
      </p:sp>
      <p:sp>
        <p:nvSpPr>
          <p:cNvPr id="44" name="TextBox 43"/>
          <p:cNvSpPr txBox="1"/>
          <p:nvPr userDrawn="1"/>
        </p:nvSpPr>
        <p:spPr>
          <a:xfrm>
            <a:off x="2062808" y="3216109"/>
            <a:ext cx="13625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DISPLAY GUIDES </a:t>
            </a:r>
          </a:p>
        </p:txBody>
      </p:sp>
      <p:sp>
        <p:nvSpPr>
          <p:cNvPr id="45" name="TextBox 44"/>
          <p:cNvSpPr txBox="1"/>
          <p:nvPr userDrawn="1"/>
        </p:nvSpPr>
        <p:spPr>
          <a:xfrm>
            <a:off x="2062810" y="3445206"/>
            <a:ext cx="1302435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Display guides on the screen to view the content area. All content should be inside the red guides.</a:t>
            </a:r>
          </a:p>
        </p:txBody>
      </p:sp>
      <p:sp>
        <p:nvSpPr>
          <p:cNvPr id="46" name="TextBox 45"/>
          <p:cNvSpPr txBox="1"/>
          <p:nvPr userDrawn="1"/>
        </p:nvSpPr>
        <p:spPr>
          <a:xfrm>
            <a:off x="2062809" y="3997816"/>
            <a:ext cx="1285966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</a:rPr>
              <a:t>View </a:t>
            </a:r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  <a:sym typeface="Wingdings 3"/>
              </a:rPr>
              <a:t> Guides</a:t>
            </a:r>
            <a:endParaRPr lang="en-US" sz="800" b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47" name="TextBox 46"/>
          <p:cNvSpPr txBox="1"/>
          <p:nvPr userDrawn="1"/>
        </p:nvSpPr>
        <p:spPr>
          <a:xfrm>
            <a:off x="8258296" y="1599603"/>
            <a:ext cx="1488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 b="0">
                <a:solidFill>
                  <a:srgbClr val="000000"/>
                </a:solidFill>
                <a:latin typeface="+mj-lt"/>
                <a:cs typeface="Arial" pitchFamily="34" charset="0"/>
              </a:rPr>
              <a:t>PRIMARY COLORS</a:t>
            </a:r>
          </a:p>
        </p:txBody>
      </p:sp>
      <p:sp>
        <p:nvSpPr>
          <p:cNvPr id="48" name="TextBox 47"/>
          <p:cNvSpPr txBox="1"/>
          <p:nvPr userDrawn="1"/>
        </p:nvSpPr>
        <p:spPr>
          <a:xfrm>
            <a:off x="9849330" y="1602000"/>
            <a:ext cx="1584000" cy="2462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 b="0">
                <a:solidFill>
                  <a:srgbClr val="000000"/>
                </a:solidFill>
                <a:latin typeface="+mj-lt"/>
                <a:cs typeface="Arial" pitchFamily="34" charset="0"/>
              </a:rPr>
              <a:t>SECONDARY COLORS FOR CHARTS &amp; DIAGRAMS</a:t>
            </a:r>
          </a:p>
        </p:txBody>
      </p:sp>
      <p:sp>
        <p:nvSpPr>
          <p:cNvPr id="50" name="TextBox 49"/>
          <p:cNvSpPr txBox="1"/>
          <p:nvPr/>
        </p:nvSpPr>
        <p:spPr>
          <a:xfrm>
            <a:off x="8582916" y="1826363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Nilfisk Dark</a:t>
            </a:r>
          </a:p>
        </p:txBody>
      </p:sp>
      <p:sp>
        <p:nvSpPr>
          <p:cNvPr id="51" name="Rektangel 11"/>
          <p:cNvSpPr>
            <a:spLocks noChangeAspect="1"/>
          </p:cNvSpPr>
          <p:nvPr/>
        </p:nvSpPr>
        <p:spPr bwMode="auto">
          <a:xfrm>
            <a:off x="9849332" y="1921624"/>
            <a:ext cx="244800" cy="183600"/>
          </a:xfrm>
          <a:prstGeom prst="rect">
            <a:avLst/>
          </a:prstGeom>
          <a:solidFill>
            <a:schemeClr val="accent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52" name="TextBox 51"/>
          <p:cNvSpPr txBox="1"/>
          <p:nvPr/>
        </p:nvSpPr>
        <p:spPr>
          <a:xfrm>
            <a:off x="10168721" y="1951870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Accent 1: Grey/Blue</a:t>
            </a:r>
          </a:p>
        </p:txBody>
      </p:sp>
      <p:sp>
        <p:nvSpPr>
          <p:cNvPr id="53" name="Rektangel 18"/>
          <p:cNvSpPr/>
          <p:nvPr/>
        </p:nvSpPr>
        <p:spPr bwMode="auto">
          <a:xfrm>
            <a:off x="8258297" y="1796117"/>
            <a:ext cx="244800" cy="183600"/>
          </a:xfrm>
          <a:prstGeom prst="rect">
            <a:avLst/>
          </a:prstGeom>
          <a:solidFill>
            <a:schemeClr val="tx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55" name="TextBox 54"/>
          <p:cNvSpPr txBox="1"/>
          <p:nvPr/>
        </p:nvSpPr>
        <p:spPr>
          <a:xfrm>
            <a:off x="8582916" y="2063363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Nilfisk Blue</a:t>
            </a:r>
          </a:p>
        </p:txBody>
      </p:sp>
      <p:sp>
        <p:nvSpPr>
          <p:cNvPr id="56" name="Rektangel 7"/>
          <p:cNvSpPr>
            <a:spLocks noChangeAspect="1"/>
          </p:cNvSpPr>
          <p:nvPr/>
        </p:nvSpPr>
        <p:spPr bwMode="auto">
          <a:xfrm>
            <a:off x="9849332" y="2158624"/>
            <a:ext cx="244800" cy="183600"/>
          </a:xfrm>
          <a:prstGeom prst="rect">
            <a:avLst/>
          </a:prstGeom>
          <a:solidFill>
            <a:schemeClr val="accent2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57" name="TextBox 56"/>
          <p:cNvSpPr txBox="1"/>
          <p:nvPr/>
        </p:nvSpPr>
        <p:spPr>
          <a:xfrm>
            <a:off x="10168721" y="2188870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Accent 2: Dark blue</a:t>
            </a:r>
          </a:p>
        </p:txBody>
      </p:sp>
      <p:sp>
        <p:nvSpPr>
          <p:cNvPr id="58" name="Rektangel 18"/>
          <p:cNvSpPr/>
          <p:nvPr/>
        </p:nvSpPr>
        <p:spPr bwMode="auto">
          <a:xfrm>
            <a:off x="8258297" y="2033117"/>
            <a:ext cx="244800" cy="183600"/>
          </a:xfrm>
          <a:prstGeom prst="rect">
            <a:avLst/>
          </a:prstGeom>
          <a:solidFill>
            <a:schemeClr val="accent3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63" name="Rektangel 18"/>
          <p:cNvSpPr/>
          <p:nvPr/>
        </p:nvSpPr>
        <p:spPr bwMode="auto">
          <a:xfrm>
            <a:off x="3802541" y="3117398"/>
            <a:ext cx="325435" cy="264226"/>
          </a:xfrm>
          <a:prstGeom prst="rect">
            <a:avLst/>
          </a:prstGeom>
          <a:solidFill>
            <a:schemeClr val="tx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64" name="TextBox 63"/>
          <p:cNvSpPr txBox="1"/>
          <p:nvPr/>
        </p:nvSpPr>
        <p:spPr>
          <a:xfrm>
            <a:off x="4235215" y="3145852"/>
            <a:ext cx="1454281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Nilfisk Dark is the default color for headlines and body text. </a:t>
            </a:r>
          </a:p>
        </p:txBody>
      </p:sp>
      <p:grpSp>
        <p:nvGrpSpPr>
          <p:cNvPr id="118" name="Group 117">
            <a:extLst>
              <a:ext uri="{FF2B5EF4-FFF2-40B4-BE49-F238E27FC236}">
                <a16:creationId xmlns:a16="http://schemas.microsoft.com/office/drawing/2014/main" id="{5E6F26DC-ED06-4AE5-BB8F-0CC90D2A969E}"/>
              </a:ext>
            </a:extLst>
          </p:cNvPr>
          <p:cNvGrpSpPr/>
          <p:nvPr userDrawn="1"/>
        </p:nvGrpSpPr>
        <p:grpSpPr>
          <a:xfrm>
            <a:off x="3796272" y="3597708"/>
            <a:ext cx="584370" cy="366154"/>
            <a:chOff x="3776319" y="3799737"/>
            <a:chExt cx="642807" cy="402769"/>
          </a:xfrm>
        </p:grpSpPr>
        <p:sp>
          <p:nvSpPr>
            <p:cNvPr id="68" name="Rektangel 22"/>
            <p:cNvSpPr/>
            <p:nvPr/>
          </p:nvSpPr>
          <p:spPr bwMode="auto">
            <a:xfrm>
              <a:off x="3776319" y="3799737"/>
              <a:ext cx="342913" cy="257185"/>
            </a:xfrm>
            <a:prstGeom prst="rect">
              <a:avLst/>
            </a:prstGeom>
            <a:solidFill>
              <a:schemeClr val="accent3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69" name="Rektangel 11"/>
            <p:cNvSpPr>
              <a:spLocks noChangeAspect="1"/>
            </p:cNvSpPr>
            <p:nvPr/>
          </p:nvSpPr>
          <p:spPr bwMode="auto">
            <a:xfrm>
              <a:off x="3876284" y="3848265"/>
              <a:ext cx="342913" cy="257185"/>
            </a:xfrm>
            <a:prstGeom prst="rect">
              <a:avLst/>
            </a:prstGeom>
            <a:solidFill>
              <a:schemeClr val="bg2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70" name="Rektangel 7"/>
            <p:cNvSpPr>
              <a:spLocks noChangeAspect="1"/>
            </p:cNvSpPr>
            <p:nvPr/>
          </p:nvSpPr>
          <p:spPr bwMode="auto">
            <a:xfrm>
              <a:off x="3976249" y="3896792"/>
              <a:ext cx="342913" cy="257185"/>
            </a:xfrm>
            <a:prstGeom prst="rect">
              <a:avLst/>
            </a:prstGeom>
            <a:solidFill>
              <a:schemeClr val="tx2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71" name="Rektangel 9"/>
            <p:cNvSpPr>
              <a:spLocks noChangeAspect="1"/>
            </p:cNvSpPr>
            <p:nvPr/>
          </p:nvSpPr>
          <p:spPr bwMode="auto">
            <a:xfrm>
              <a:off x="4076213" y="3945321"/>
              <a:ext cx="342913" cy="257185"/>
            </a:xfrm>
            <a:prstGeom prst="rect">
              <a:avLst/>
            </a:prstGeom>
            <a:solidFill>
              <a:schemeClr val="bg1"/>
            </a:solidFill>
            <a:ln w="3175" cap="flat" cmpd="sng" algn="ctr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</p:grpSp>
      <p:sp>
        <p:nvSpPr>
          <p:cNvPr id="72" name="TextBox 71"/>
          <p:cNvSpPr txBox="1"/>
          <p:nvPr userDrawn="1"/>
        </p:nvSpPr>
        <p:spPr>
          <a:xfrm>
            <a:off x="4539038" y="3521694"/>
            <a:ext cx="1426550" cy="7386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Feel free to change the body text color to white or one of the other primary colors in order to create emphasis, highlight or better contrast between text and background.</a:t>
            </a:r>
          </a:p>
        </p:txBody>
      </p:sp>
      <p:sp>
        <p:nvSpPr>
          <p:cNvPr id="73" name="Rektangel 22"/>
          <p:cNvSpPr/>
          <p:nvPr userDrawn="1"/>
        </p:nvSpPr>
        <p:spPr bwMode="auto">
          <a:xfrm>
            <a:off x="8258296" y="2270116"/>
            <a:ext cx="244800" cy="183600"/>
          </a:xfrm>
          <a:prstGeom prst="rect">
            <a:avLst/>
          </a:prstGeom>
          <a:solidFill>
            <a:schemeClr val="bg2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74" name="TextBox 73"/>
          <p:cNvSpPr txBox="1"/>
          <p:nvPr userDrawn="1"/>
        </p:nvSpPr>
        <p:spPr>
          <a:xfrm>
            <a:off x="8582915" y="2300363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Nilfisk Accent 1</a:t>
            </a:r>
          </a:p>
        </p:txBody>
      </p:sp>
      <p:sp>
        <p:nvSpPr>
          <p:cNvPr id="75" name="Rektangel 9"/>
          <p:cNvSpPr>
            <a:spLocks noChangeAspect="1"/>
          </p:cNvSpPr>
          <p:nvPr userDrawn="1"/>
        </p:nvSpPr>
        <p:spPr bwMode="auto">
          <a:xfrm>
            <a:off x="9849330" y="2395623"/>
            <a:ext cx="244800" cy="183600"/>
          </a:xfrm>
          <a:prstGeom prst="rect">
            <a:avLst/>
          </a:prstGeom>
          <a:solidFill>
            <a:schemeClr val="accent4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76" name="TextBox 75"/>
          <p:cNvSpPr txBox="1"/>
          <p:nvPr userDrawn="1"/>
        </p:nvSpPr>
        <p:spPr>
          <a:xfrm>
            <a:off x="10168720" y="2425871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Accent 4: Ocean blue</a:t>
            </a:r>
          </a:p>
        </p:txBody>
      </p:sp>
      <p:sp>
        <p:nvSpPr>
          <p:cNvPr id="81" name="Content Placeholder 5"/>
          <p:cNvSpPr txBox="1">
            <a:spLocks/>
          </p:cNvSpPr>
          <p:nvPr userDrawn="1"/>
        </p:nvSpPr>
        <p:spPr>
          <a:xfrm>
            <a:off x="6474281" y="3081964"/>
            <a:ext cx="1436029" cy="12311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800">
                <a:solidFill>
                  <a:schemeClr val="tx1"/>
                </a:solidFill>
              </a:rPr>
              <a:t>Never use the Standard Colors</a:t>
            </a:r>
          </a:p>
        </p:txBody>
      </p:sp>
      <p:cxnSp>
        <p:nvCxnSpPr>
          <p:cNvPr id="82" name="Straight Connector 81"/>
          <p:cNvCxnSpPr>
            <a:cxnSpLocks/>
          </p:cNvCxnSpPr>
          <p:nvPr userDrawn="1"/>
        </p:nvCxnSpPr>
        <p:spPr>
          <a:xfrm>
            <a:off x="6474281" y="3361226"/>
            <a:ext cx="4959049" cy="0"/>
          </a:xfrm>
          <a:prstGeom prst="line">
            <a:avLst/>
          </a:prstGeom>
          <a:ln>
            <a:solidFill>
              <a:schemeClr val="bg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Title 1"/>
          <p:cNvSpPr txBox="1">
            <a:spLocks/>
          </p:cNvSpPr>
          <p:nvPr userDrawn="1"/>
        </p:nvSpPr>
        <p:spPr>
          <a:xfrm>
            <a:off x="558868" y="885750"/>
            <a:ext cx="11171767" cy="68991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1023967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 sz="2800" b="1" kern="1200">
              <a:solidFill>
                <a:schemeClr val="tx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83" name="Date Placeholder 8">
            <a:extLst>
              <a:ext uri="{FF2B5EF4-FFF2-40B4-BE49-F238E27FC236}">
                <a16:creationId xmlns:a16="http://schemas.microsoft.com/office/drawing/2014/main" id="{FE12C273-601D-40AF-BD56-6F1846451924}"/>
              </a:ext>
            </a:extLst>
          </p:cNvPr>
          <p:cNvSpPr>
            <a:spLocks noGrp="1"/>
          </p:cNvSpPr>
          <p:nvPr userDrawn="1">
            <p:ph type="dt" sz="half" idx="19"/>
          </p:nvPr>
        </p:nvSpPr>
        <p:spPr>
          <a:xfrm>
            <a:off x="3008551" y="6529068"/>
            <a:ext cx="759950" cy="153888"/>
          </a:xfrm>
        </p:spPr>
        <p:txBody>
          <a:bodyPr/>
          <a:lstStyle/>
          <a:p>
            <a:fld id="{A0ABC626-455B-41B0-A0E7-A5E156590607}" type="datetime1">
              <a:rPr lang="en-US" smtClean="0"/>
              <a:pPr/>
              <a:t>2/25/2025</a:t>
            </a:fld>
            <a:endParaRPr lang="en-US"/>
          </a:p>
        </p:txBody>
      </p:sp>
      <p:sp>
        <p:nvSpPr>
          <p:cNvPr id="84" name="Footer Placeholder 12">
            <a:extLst>
              <a:ext uri="{FF2B5EF4-FFF2-40B4-BE49-F238E27FC236}">
                <a16:creationId xmlns:a16="http://schemas.microsoft.com/office/drawing/2014/main" id="{5E3596F1-2045-40CC-A80E-499FCE019B3A}"/>
              </a:ext>
            </a:extLst>
          </p:cNvPr>
          <p:cNvSpPr>
            <a:spLocks noGrp="1"/>
          </p:cNvSpPr>
          <p:nvPr userDrawn="1">
            <p:ph type="ftr" sz="quarter" idx="20"/>
          </p:nvPr>
        </p:nvSpPr>
        <p:spPr>
          <a:xfrm>
            <a:off x="920896" y="6529068"/>
            <a:ext cx="2087655" cy="153888"/>
          </a:xfrm>
        </p:spPr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85" name="Slide Number Placeholder 13">
            <a:extLst>
              <a:ext uri="{FF2B5EF4-FFF2-40B4-BE49-F238E27FC236}">
                <a16:creationId xmlns:a16="http://schemas.microsoft.com/office/drawing/2014/main" id="{6A79043F-E70A-4446-8650-0C2A2B7B0881}"/>
              </a:ext>
            </a:extLst>
          </p:cNvPr>
          <p:cNvSpPr>
            <a:spLocks noGrp="1"/>
          </p:cNvSpPr>
          <p:nvPr userDrawn="1">
            <p:ph type="sldNum" sz="quarter" idx="21"/>
          </p:nvPr>
        </p:nvSpPr>
        <p:spPr>
          <a:xfrm>
            <a:off x="479426" y="6529068"/>
            <a:ext cx="270170" cy="153888"/>
          </a:xfrm>
        </p:spPr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7" name="Rektangel 22">
            <a:extLst>
              <a:ext uri="{FF2B5EF4-FFF2-40B4-BE49-F238E27FC236}">
                <a16:creationId xmlns:a16="http://schemas.microsoft.com/office/drawing/2014/main" id="{94B553FC-3AAD-430C-8BBF-3DF9335D0629}"/>
              </a:ext>
            </a:extLst>
          </p:cNvPr>
          <p:cNvSpPr/>
          <p:nvPr userDrawn="1"/>
        </p:nvSpPr>
        <p:spPr bwMode="auto">
          <a:xfrm>
            <a:off x="8258296" y="2511626"/>
            <a:ext cx="244800" cy="183600"/>
          </a:xfrm>
          <a:prstGeom prst="rect">
            <a:avLst/>
          </a:prstGeom>
          <a:solidFill>
            <a:schemeClr val="tx2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52ECF2D3-E70D-444B-A194-20FBB4EF8314}"/>
              </a:ext>
            </a:extLst>
          </p:cNvPr>
          <p:cNvSpPr txBox="1"/>
          <p:nvPr userDrawn="1"/>
        </p:nvSpPr>
        <p:spPr>
          <a:xfrm>
            <a:off x="8582915" y="2541873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Nilfisk Accent 2</a:t>
            </a:r>
          </a:p>
        </p:txBody>
      </p:sp>
      <p:sp>
        <p:nvSpPr>
          <p:cNvPr id="92" name="Rektangel 9">
            <a:extLst>
              <a:ext uri="{FF2B5EF4-FFF2-40B4-BE49-F238E27FC236}">
                <a16:creationId xmlns:a16="http://schemas.microsoft.com/office/drawing/2014/main" id="{C6A9245E-199C-439D-8F58-D6A26180CCF2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9849330" y="2629249"/>
            <a:ext cx="244800" cy="183600"/>
          </a:xfrm>
          <a:prstGeom prst="rect">
            <a:avLst/>
          </a:prstGeom>
          <a:solidFill>
            <a:schemeClr val="accent5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93" name="TextBox 92">
            <a:extLst>
              <a:ext uri="{FF2B5EF4-FFF2-40B4-BE49-F238E27FC236}">
                <a16:creationId xmlns:a16="http://schemas.microsoft.com/office/drawing/2014/main" id="{A25B0928-DFF1-4B6F-8C9F-7FE6579D5FCC}"/>
              </a:ext>
            </a:extLst>
          </p:cNvPr>
          <p:cNvSpPr txBox="1"/>
          <p:nvPr userDrawn="1"/>
        </p:nvSpPr>
        <p:spPr>
          <a:xfrm>
            <a:off x="10168720" y="2659497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Accent 5: Green</a:t>
            </a:r>
          </a:p>
        </p:txBody>
      </p:sp>
      <p:sp>
        <p:nvSpPr>
          <p:cNvPr id="94" name="Rektangel 9">
            <a:extLst>
              <a:ext uri="{FF2B5EF4-FFF2-40B4-BE49-F238E27FC236}">
                <a16:creationId xmlns:a16="http://schemas.microsoft.com/office/drawing/2014/main" id="{37D8958A-387C-45BD-83D0-DBC3BB0017DA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9849330" y="2853321"/>
            <a:ext cx="244800" cy="183600"/>
          </a:xfrm>
          <a:prstGeom prst="rect">
            <a:avLst/>
          </a:prstGeom>
          <a:solidFill>
            <a:schemeClr val="accent6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95" name="TextBox 94">
            <a:extLst>
              <a:ext uri="{FF2B5EF4-FFF2-40B4-BE49-F238E27FC236}">
                <a16:creationId xmlns:a16="http://schemas.microsoft.com/office/drawing/2014/main" id="{F2D3E017-96F6-423B-9145-008DB23FF524}"/>
              </a:ext>
            </a:extLst>
          </p:cNvPr>
          <p:cNvSpPr txBox="1"/>
          <p:nvPr userDrawn="1"/>
        </p:nvSpPr>
        <p:spPr>
          <a:xfrm>
            <a:off x="10168720" y="2883569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Accent 6: Red Alert</a:t>
            </a:r>
          </a:p>
        </p:txBody>
      </p:sp>
      <p:pic>
        <p:nvPicPr>
          <p:cNvPr id="102" name="Picture 101">
            <a:extLst>
              <a:ext uri="{FF2B5EF4-FFF2-40B4-BE49-F238E27FC236}">
                <a16:creationId xmlns:a16="http://schemas.microsoft.com/office/drawing/2014/main" id="{1ABD7990-89CC-49DB-AA0A-0AC2D5EF7268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486246" y="3852045"/>
            <a:ext cx="1815300" cy="1222363"/>
          </a:xfrm>
          <a:prstGeom prst="rect">
            <a:avLst/>
          </a:prstGeom>
        </p:spPr>
      </p:pic>
      <p:pic>
        <p:nvPicPr>
          <p:cNvPr id="103" name="Picture 102">
            <a:extLst>
              <a:ext uri="{FF2B5EF4-FFF2-40B4-BE49-F238E27FC236}">
                <a16:creationId xmlns:a16="http://schemas.microsoft.com/office/drawing/2014/main" id="{6546A0DA-94D1-4668-A757-FF579938F67C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8503096" y="3878959"/>
            <a:ext cx="1797056" cy="1215521"/>
          </a:xfrm>
          <a:prstGeom prst="rect">
            <a:avLst/>
          </a:prstGeom>
        </p:spPr>
      </p:pic>
      <p:sp>
        <p:nvSpPr>
          <p:cNvPr id="18" name="TextBox 17"/>
          <p:cNvSpPr txBox="1"/>
          <p:nvPr userDrawn="1"/>
        </p:nvSpPr>
        <p:spPr>
          <a:xfrm>
            <a:off x="6463409" y="5337962"/>
            <a:ext cx="2680591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SMARTART </a:t>
            </a:r>
            <a:r>
              <a:rPr lang="en-US" sz="800">
                <a:solidFill>
                  <a:schemeClr val="tx1"/>
                </a:solidFill>
                <a:latin typeface="+mn-lt"/>
                <a:cs typeface="Arial" pitchFamily="34" charset="0"/>
              </a:rPr>
              <a:t>– DESIGN AND EFFECTS</a:t>
            </a:r>
          </a:p>
        </p:txBody>
      </p:sp>
      <p:grpSp>
        <p:nvGrpSpPr>
          <p:cNvPr id="105" name="Group 104">
            <a:extLst>
              <a:ext uri="{FF2B5EF4-FFF2-40B4-BE49-F238E27FC236}">
                <a16:creationId xmlns:a16="http://schemas.microsoft.com/office/drawing/2014/main" id="{03585E07-6B11-4B4F-AE56-460E3215EDE8}"/>
              </a:ext>
            </a:extLst>
          </p:cNvPr>
          <p:cNvGrpSpPr/>
          <p:nvPr userDrawn="1"/>
        </p:nvGrpSpPr>
        <p:grpSpPr>
          <a:xfrm>
            <a:off x="8513102" y="4099093"/>
            <a:ext cx="1730876" cy="944549"/>
            <a:chOff x="2834640" y="3855720"/>
            <a:chExt cx="708660" cy="228600"/>
          </a:xfrm>
        </p:grpSpPr>
        <p:cxnSp>
          <p:nvCxnSpPr>
            <p:cNvPr id="106" name="Straight Connector 105">
              <a:extLst>
                <a:ext uri="{FF2B5EF4-FFF2-40B4-BE49-F238E27FC236}">
                  <a16:creationId xmlns:a16="http://schemas.microsoft.com/office/drawing/2014/main" id="{9809A7F2-F48F-4F60-957B-2DB7F7B34D5A}"/>
                </a:ext>
              </a:extLst>
            </p:cNvPr>
            <p:cNvCxnSpPr/>
            <p:nvPr/>
          </p:nvCxnSpPr>
          <p:spPr>
            <a:xfrm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6614DE27-4BEA-4798-AF7D-67C66CD04692}"/>
                </a:ext>
              </a:extLst>
            </p:cNvPr>
            <p:cNvCxnSpPr/>
            <p:nvPr/>
          </p:nvCxnSpPr>
          <p:spPr>
            <a:xfrm flipH="1"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09" name="Picture 108">
            <a:extLst>
              <a:ext uri="{FF2B5EF4-FFF2-40B4-BE49-F238E27FC236}">
                <a16:creationId xmlns:a16="http://schemas.microsoft.com/office/drawing/2014/main" id="{0B27BA4E-0BF4-4C02-940E-C2B8347325A4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6463409" y="5577357"/>
            <a:ext cx="4969921" cy="443263"/>
          </a:xfrm>
          <a:prstGeom prst="rect">
            <a:avLst/>
          </a:prstGeom>
        </p:spPr>
      </p:pic>
      <p:grpSp>
        <p:nvGrpSpPr>
          <p:cNvPr id="111" name="Group 110">
            <a:extLst>
              <a:ext uri="{FF2B5EF4-FFF2-40B4-BE49-F238E27FC236}">
                <a16:creationId xmlns:a16="http://schemas.microsoft.com/office/drawing/2014/main" id="{94A9BDE5-F054-4AD6-B204-D8056D976AEC}"/>
              </a:ext>
            </a:extLst>
          </p:cNvPr>
          <p:cNvGrpSpPr/>
          <p:nvPr userDrawn="1"/>
        </p:nvGrpSpPr>
        <p:grpSpPr>
          <a:xfrm>
            <a:off x="7019925" y="5670940"/>
            <a:ext cx="4375305" cy="217835"/>
            <a:chOff x="2834640" y="3855720"/>
            <a:chExt cx="708660" cy="228600"/>
          </a:xfrm>
        </p:grpSpPr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F45128B7-C518-458F-B497-DBD7A8897B75}"/>
                </a:ext>
              </a:extLst>
            </p:cNvPr>
            <p:cNvCxnSpPr/>
            <p:nvPr/>
          </p:nvCxnSpPr>
          <p:spPr>
            <a:xfrm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B1651C43-F09B-4205-ABB2-EAC554A231A2}"/>
                </a:ext>
              </a:extLst>
            </p:cNvPr>
            <p:cNvCxnSpPr/>
            <p:nvPr/>
          </p:nvCxnSpPr>
          <p:spPr>
            <a:xfrm flipH="1"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4" name="TextBox 113">
            <a:extLst>
              <a:ext uri="{FF2B5EF4-FFF2-40B4-BE49-F238E27FC236}">
                <a16:creationId xmlns:a16="http://schemas.microsoft.com/office/drawing/2014/main" id="{39575785-35B6-49AB-9E5B-A44383234BA4}"/>
              </a:ext>
            </a:extLst>
          </p:cNvPr>
          <p:cNvSpPr txBox="1"/>
          <p:nvPr userDrawn="1"/>
        </p:nvSpPr>
        <p:spPr>
          <a:xfrm>
            <a:off x="10495883" y="3991118"/>
            <a:ext cx="1064838" cy="7386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Keep charts and SmartArt simple and minimalistic. </a:t>
            </a:r>
            <a:br>
              <a:rPr lang="en-US" sz="800">
                <a:solidFill>
                  <a:schemeClr val="tx1"/>
                </a:solidFill>
                <a:cs typeface="Arial" pitchFamily="34" charset="0"/>
              </a:rPr>
            </a:br>
            <a:endParaRPr lang="en-US" sz="800">
              <a:solidFill>
                <a:schemeClr val="tx1"/>
              </a:solidFill>
              <a:cs typeface="Arial" pitchFamily="34" charset="0"/>
            </a:endParaRPr>
          </a:p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Avoid bevel, emboss and 3D effects.</a:t>
            </a:r>
          </a:p>
        </p:txBody>
      </p:sp>
      <p:sp>
        <p:nvSpPr>
          <p:cNvPr id="115" name="Rectangle 114">
            <a:extLst>
              <a:ext uri="{FF2B5EF4-FFF2-40B4-BE49-F238E27FC236}">
                <a16:creationId xmlns:a16="http://schemas.microsoft.com/office/drawing/2014/main" id="{2B4EC30E-B7CE-4A68-8E8B-D5254BC914CC}"/>
              </a:ext>
            </a:extLst>
          </p:cNvPr>
          <p:cNvSpPr/>
          <p:nvPr userDrawn="1"/>
        </p:nvSpPr>
        <p:spPr>
          <a:xfrm>
            <a:off x="479425" y="4611253"/>
            <a:ext cx="5628836" cy="1588341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116" name="TextBox 115">
            <a:extLst>
              <a:ext uri="{FF2B5EF4-FFF2-40B4-BE49-F238E27FC236}">
                <a16:creationId xmlns:a16="http://schemas.microsoft.com/office/drawing/2014/main" id="{FD99C6E9-148D-4428-B5D8-6AD43505DA41}"/>
              </a:ext>
            </a:extLst>
          </p:cNvPr>
          <p:cNvSpPr txBox="1"/>
          <p:nvPr userDrawn="1"/>
        </p:nvSpPr>
        <p:spPr>
          <a:xfrm>
            <a:off x="558868" y="4773728"/>
            <a:ext cx="2287064" cy="266400"/>
          </a:xfrm>
          <a:prstGeom prst="rect">
            <a:avLst/>
          </a:prstGeom>
          <a:noFill/>
        </p:spPr>
        <p:txBody>
          <a:bodyPr wrap="none" lIns="108000" tIns="36000" rIns="36000" bIns="36000" rtlCol="0" anchor="ctr">
            <a:noAutofit/>
          </a:bodyPr>
          <a:lstStyle/>
          <a:p>
            <a:pPr defTabSz="914400"/>
            <a:r>
              <a:rPr lang="en-US" sz="1100" spc="30" baseline="0">
                <a:solidFill>
                  <a:schemeClr val="tx1"/>
                </a:solidFill>
                <a:latin typeface="+mj-lt"/>
                <a:cs typeface="Arial" pitchFamily="34" charset="0"/>
              </a:rPr>
              <a:t>CALL OUTS</a:t>
            </a:r>
          </a:p>
        </p:txBody>
      </p:sp>
      <p:sp>
        <p:nvSpPr>
          <p:cNvPr id="117" name="TextBox 116">
            <a:extLst>
              <a:ext uri="{FF2B5EF4-FFF2-40B4-BE49-F238E27FC236}">
                <a16:creationId xmlns:a16="http://schemas.microsoft.com/office/drawing/2014/main" id="{C1335B58-8355-4223-9A0F-3FB094B7984A}"/>
              </a:ext>
            </a:extLst>
          </p:cNvPr>
          <p:cNvSpPr txBox="1"/>
          <p:nvPr userDrawn="1"/>
        </p:nvSpPr>
        <p:spPr>
          <a:xfrm>
            <a:off x="3802541" y="2920536"/>
            <a:ext cx="1924081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algn="l" defTabSz="914400" rtl="0" eaLnBrk="1" latinLnBrk="0" hangingPunct="1"/>
            <a:r>
              <a:rPr lang="en-US" sz="800" b="0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rPr>
              <a:t>TEXT COLOR</a:t>
            </a:r>
          </a:p>
        </p:txBody>
      </p:sp>
      <p:pic>
        <p:nvPicPr>
          <p:cNvPr id="120" name="Picture 119">
            <a:extLst>
              <a:ext uri="{FF2B5EF4-FFF2-40B4-BE49-F238E27FC236}">
                <a16:creationId xmlns:a16="http://schemas.microsoft.com/office/drawing/2014/main" id="{EA7DB651-0930-424D-8AAB-494794615B25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694112" y="1513060"/>
            <a:ext cx="1225191" cy="1407314"/>
          </a:xfrm>
          <a:prstGeom prst="rect">
            <a:avLst/>
          </a:prstGeom>
        </p:spPr>
      </p:pic>
      <p:sp>
        <p:nvSpPr>
          <p:cNvPr id="124" name="Oval 123">
            <a:extLst>
              <a:ext uri="{FF2B5EF4-FFF2-40B4-BE49-F238E27FC236}">
                <a16:creationId xmlns:a16="http://schemas.microsoft.com/office/drawing/2014/main" id="{F7AB58B9-3487-4503-98A3-261B6871E0AB}"/>
              </a:ext>
            </a:extLst>
          </p:cNvPr>
          <p:cNvSpPr/>
          <p:nvPr userDrawn="1"/>
        </p:nvSpPr>
        <p:spPr>
          <a:xfrm>
            <a:off x="3076416" y="4919253"/>
            <a:ext cx="951609" cy="951609"/>
          </a:xfrm>
          <a:prstGeom prst="ellipse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100">
                <a:solidFill>
                  <a:schemeClr val="bg1"/>
                </a:solidFill>
              </a:rPr>
              <a:t>Call-out text here</a:t>
            </a:r>
          </a:p>
        </p:txBody>
      </p:sp>
      <p:sp>
        <p:nvSpPr>
          <p:cNvPr id="127" name="Rectangle: Rounded Corners 126">
            <a:extLst>
              <a:ext uri="{FF2B5EF4-FFF2-40B4-BE49-F238E27FC236}">
                <a16:creationId xmlns:a16="http://schemas.microsoft.com/office/drawing/2014/main" id="{B6CD54A2-4412-4A84-AF5A-DACAD97CBE74}"/>
              </a:ext>
            </a:extLst>
          </p:cNvPr>
          <p:cNvSpPr/>
          <p:nvPr userDrawn="1"/>
        </p:nvSpPr>
        <p:spPr>
          <a:xfrm>
            <a:off x="4222590" y="5306886"/>
            <a:ext cx="1667164" cy="323268"/>
          </a:xfrm>
          <a:prstGeom prst="roundRect">
            <a:avLst>
              <a:gd name="adj" fmla="val 50000"/>
            </a:avLst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>
                <a:solidFill>
                  <a:schemeClr val="bg1"/>
                </a:solidFill>
              </a:rPr>
              <a:t>Call out text here</a:t>
            </a:r>
          </a:p>
        </p:txBody>
      </p:sp>
      <p:sp>
        <p:nvSpPr>
          <p:cNvPr id="128" name="TextBox 127">
            <a:extLst>
              <a:ext uri="{FF2B5EF4-FFF2-40B4-BE49-F238E27FC236}">
                <a16:creationId xmlns:a16="http://schemas.microsoft.com/office/drawing/2014/main" id="{5C803F96-D305-4337-A4A7-EF0BCC606DD0}"/>
              </a:ext>
            </a:extLst>
          </p:cNvPr>
          <p:cNvSpPr txBox="1"/>
          <p:nvPr userDrawn="1"/>
        </p:nvSpPr>
        <p:spPr>
          <a:xfrm>
            <a:off x="688006" y="5335884"/>
            <a:ext cx="2120985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Circles and race-track shapes are preferred</a:t>
            </a:r>
          </a:p>
        </p:txBody>
      </p:sp>
      <p:sp>
        <p:nvSpPr>
          <p:cNvPr id="129" name="TextBox 128">
            <a:extLst>
              <a:ext uri="{FF2B5EF4-FFF2-40B4-BE49-F238E27FC236}">
                <a16:creationId xmlns:a16="http://schemas.microsoft.com/office/drawing/2014/main" id="{26944829-53C6-4832-B927-4DF77768AF22}"/>
              </a:ext>
            </a:extLst>
          </p:cNvPr>
          <p:cNvSpPr txBox="1"/>
          <p:nvPr userDrawn="1"/>
        </p:nvSpPr>
        <p:spPr>
          <a:xfrm>
            <a:off x="686640" y="5170041"/>
            <a:ext cx="13625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SHAPES</a:t>
            </a:r>
          </a:p>
        </p:txBody>
      </p:sp>
      <p:sp>
        <p:nvSpPr>
          <p:cNvPr id="130" name="TextBox 129">
            <a:extLst>
              <a:ext uri="{FF2B5EF4-FFF2-40B4-BE49-F238E27FC236}">
                <a16:creationId xmlns:a16="http://schemas.microsoft.com/office/drawing/2014/main" id="{501F335D-AC9C-4F79-BE6D-7BFEDF74FE27}"/>
              </a:ext>
            </a:extLst>
          </p:cNvPr>
          <p:cNvSpPr txBox="1"/>
          <p:nvPr userDrawn="1"/>
        </p:nvSpPr>
        <p:spPr>
          <a:xfrm>
            <a:off x="688007" y="5769347"/>
            <a:ext cx="2193844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Use a bright color as Nilfisk Blue, if an alert call out is needed then use the Red Alert color</a:t>
            </a:r>
          </a:p>
        </p:txBody>
      </p:sp>
      <p:sp>
        <p:nvSpPr>
          <p:cNvPr id="131" name="TextBox 130">
            <a:extLst>
              <a:ext uri="{FF2B5EF4-FFF2-40B4-BE49-F238E27FC236}">
                <a16:creationId xmlns:a16="http://schemas.microsoft.com/office/drawing/2014/main" id="{9E6CBA77-60E5-4B50-BBFC-943B830A4FB8}"/>
              </a:ext>
            </a:extLst>
          </p:cNvPr>
          <p:cNvSpPr txBox="1"/>
          <p:nvPr userDrawn="1"/>
        </p:nvSpPr>
        <p:spPr>
          <a:xfrm>
            <a:off x="686640" y="5597590"/>
            <a:ext cx="13625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COLORS</a:t>
            </a:r>
          </a:p>
        </p:txBody>
      </p:sp>
      <p:pic>
        <p:nvPicPr>
          <p:cNvPr id="133" name="Picture 132">
            <a:extLst>
              <a:ext uri="{FF2B5EF4-FFF2-40B4-BE49-F238E27FC236}">
                <a16:creationId xmlns:a16="http://schemas.microsoft.com/office/drawing/2014/main" id="{DBC42F93-7A2E-45E5-BF9E-672AE70AF54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/>
          <a:srcRect r="8696"/>
          <a:stretch/>
        </p:blipFill>
        <p:spPr>
          <a:xfrm>
            <a:off x="686641" y="3203941"/>
            <a:ext cx="1205207" cy="951982"/>
          </a:xfrm>
          <a:prstGeom prst="rect">
            <a:avLst/>
          </a:prstGeom>
        </p:spPr>
      </p:pic>
      <p:sp>
        <p:nvSpPr>
          <p:cNvPr id="89" name="TextBox 88">
            <a:extLst>
              <a:ext uri="{FF2B5EF4-FFF2-40B4-BE49-F238E27FC236}">
                <a16:creationId xmlns:a16="http://schemas.microsoft.com/office/drawing/2014/main" id="{FB05DA62-B4C6-45AC-9BFB-A0E475FE9E84}"/>
              </a:ext>
            </a:extLst>
          </p:cNvPr>
          <p:cNvSpPr txBox="1"/>
          <p:nvPr userDrawn="1"/>
        </p:nvSpPr>
        <p:spPr>
          <a:xfrm>
            <a:off x="484566" y="420116"/>
            <a:ext cx="7304039" cy="523220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r>
              <a:rPr lang="en-US" sz="2800" noProof="0">
                <a:latin typeface="+mj-lt"/>
              </a:rPr>
              <a:t>Nilfisk presentation guidelines and tips</a:t>
            </a:r>
            <a:endParaRPr lang="en-US" sz="280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4901634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4888757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530" imgH="528" progId="TCLayout.ActiveDocument.1">
                  <p:embed/>
                </p:oleObj>
              </mc:Choice>
              <mc:Fallback>
                <p:oleObj name="Diapositiva think-cell" r:id="rId3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C9D9593-6010-4D84-B698-3916B996FA30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2/25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8C73727-0AEF-4180-9A25-9D9E4AA4CDE0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0140819-2DD2-4C6A-B2BA-661DD2B0CB85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9F31923-D926-4EC1-927C-8708EF07DF2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9B7F5197-BFC0-474F-8B91-9B266F1A87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7266426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1 /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6199282" cy="45180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Add agenda tit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37" hasCustomPrompt="1"/>
          </p:nvPr>
        </p:nvSpPr>
        <p:spPr>
          <a:xfrm>
            <a:off x="1968167" y="1381125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20" name="Text Placeholder 6"/>
          <p:cNvSpPr>
            <a:spLocks noGrp="1"/>
          </p:cNvSpPr>
          <p:nvPr>
            <p:ph type="body" sz="quarter" idx="38" hasCustomPrompt="1"/>
          </p:nvPr>
        </p:nvSpPr>
        <p:spPr>
          <a:xfrm>
            <a:off x="1968167" y="2222844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21" name="Text Placeholder 6"/>
          <p:cNvSpPr>
            <a:spLocks noGrp="1"/>
          </p:cNvSpPr>
          <p:nvPr>
            <p:ph type="body" sz="quarter" idx="39" hasCustomPrompt="1"/>
          </p:nvPr>
        </p:nvSpPr>
        <p:spPr>
          <a:xfrm>
            <a:off x="1968167" y="3064563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22" name="Text Placeholder 6"/>
          <p:cNvSpPr>
            <a:spLocks noGrp="1"/>
          </p:cNvSpPr>
          <p:nvPr>
            <p:ph type="body" sz="quarter" idx="40" hasCustomPrompt="1"/>
          </p:nvPr>
        </p:nvSpPr>
        <p:spPr>
          <a:xfrm>
            <a:off x="1968167" y="3906282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23" name="Text Placeholder 6"/>
          <p:cNvSpPr>
            <a:spLocks noGrp="1"/>
          </p:cNvSpPr>
          <p:nvPr>
            <p:ph type="body" sz="quarter" idx="41" hasCustomPrompt="1"/>
          </p:nvPr>
        </p:nvSpPr>
        <p:spPr>
          <a:xfrm>
            <a:off x="1968167" y="4748001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24" name="Text Placeholder 6"/>
          <p:cNvSpPr>
            <a:spLocks noGrp="1"/>
          </p:cNvSpPr>
          <p:nvPr>
            <p:ph type="body" sz="quarter" idx="42" hasCustomPrompt="1"/>
          </p:nvPr>
        </p:nvSpPr>
        <p:spPr>
          <a:xfrm>
            <a:off x="1968167" y="5589718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25" name="Text Placeholder 6"/>
          <p:cNvSpPr>
            <a:spLocks noGrp="1"/>
          </p:cNvSpPr>
          <p:nvPr>
            <p:ph type="body" sz="quarter" idx="43" hasCustomPrompt="1"/>
          </p:nvPr>
        </p:nvSpPr>
        <p:spPr>
          <a:xfrm>
            <a:off x="1117600" y="1381125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26" name="Text Placeholder 6"/>
          <p:cNvSpPr>
            <a:spLocks noGrp="1"/>
          </p:cNvSpPr>
          <p:nvPr>
            <p:ph type="body" sz="quarter" idx="44" hasCustomPrompt="1"/>
          </p:nvPr>
        </p:nvSpPr>
        <p:spPr>
          <a:xfrm>
            <a:off x="1117600" y="2222844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27" name="Text Placeholder 6"/>
          <p:cNvSpPr>
            <a:spLocks noGrp="1"/>
          </p:cNvSpPr>
          <p:nvPr>
            <p:ph type="body" sz="quarter" idx="45" hasCustomPrompt="1"/>
          </p:nvPr>
        </p:nvSpPr>
        <p:spPr>
          <a:xfrm>
            <a:off x="1117600" y="3064563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28" name="Text Placeholder 6"/>
          <p:cNvSpPr>
            <a:spLocks noGrp="1"/>
          </p:cNvSpPr>
          <p:nvPr>
            <p:ph type="body" sz="quarter" idx="46" hasCustomPrompt="1"/>
          </p:nvPr>
        </p:nvSpPr>
        <p:spPr>
          <a:xfrm>
            <a:off x="1117600" y="3906282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29" name="Text Placeholder 6"/>
          <p:cNvSpPr>
            <a:spLocks noGrp="1"/>
          </p:cNvSpPr>
          <p:nvPr>
            <p:ph type="body" sz="quarter" idx="47" hasCustomPrompt="1"/>
          </p:nvPr>
        </p:nvSpPr>
        <p:spPr>
          <a:xfrm>
            <a:off x="1117600" y="4748001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30" name="Text Placeholder 6"/>
          <p:cNvSpPr>
            <a:spLocks noGrp="1"/>
          </p:cNvSpPr>
          <p:nvPr>
            <p:ph type="body" sz="quarter" idx="48" hasCustomPrompt="1"/>
          </p:nvPr>
        </p:nvSpPr>
        <p:spPr>
          <a:xfrm>
            <a:off x="1117600" y="5589718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18" name="Picture Placeholder 3">
            <a:extLst>
              <a:ext uri="{FF2B5EF4-FFF2-40B4-BE49-F238E27FC236}">
                <a16:creationId xmlns:a16="http://schemas.microsoft.com/office/drawing/2014/main" id="{92633BA2-668C-4362-AF86-6885DEF6DFDD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929718" y="0"/>
            <a:ext cx="5262281" cy="6273800"/>
          </a:xfrm>
        </p:spPr>
        <p:txBody>
          <a:bodyPr lIns="60458" tIns="60458" rIns="60458" bIns="61200" anchor="ctr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insert a pictur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AB7C68E-A9DB-482D-8573-A1E734D89C45}"/>
              </a:ext>
            </a:extLst>
          </p:cNvPr>
          <p:cNvSpPr>
            <a:spLocks noGrp="1"/>
          </p:cNvSpPr>
          <p:nvPr>
            <p:ph type="dt" sz="half" idx="49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2/25/2025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7A036050-6042-4828-AEF7-BEF88D457057}"/>
              </a:ext>
            </a:extLst>
          </p:cNvPr>
          <p:cNvSpPr>
            <a:spLocks noGrp="1"/>
          </p:cNvSpPr>
          <p:nvPr>
            <p:ph type="ftr" sz="quarter" idx="50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B648AB8-957A-40F5-BE6A-A1A7B5839E37}"/>
              </a:ext>
            </a:extLst>
          </p:cNvPr>
          <p:cNvSpPr>
            <a:spLocks noGrp="1"/>
          </p:cNvSpPr>
          <p:nvPr>
            <p:ph type="sldNum" sz="quarter" idx="51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24303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3 / 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Title 1">
            <a:extLst>
              <a:ext uri="{FF2B5EF4-FFF2-40B4-BE49-F238E27FC236}">
                <a16:creationId xmlns:a16="http://schemas.microsoft.com/office/drawing/2014/main" id="{5EC2438A-E891-4FFF-BA92-718E67D50BD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6199282" cy="45180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Add agenda title</a:t>
            </a:r>
          </a:p>
        </p:txBody>
      </p:sp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351349A8-F4AD-481C-B833-2018086AEB1D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1968167" y="1381125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33" name="Text Placeholder 6">
            <a:extLst>
              <a:ext uri="{FF2B5EF4-FFF2-40B4-BE49-F238E27FC236}">
                <a16:creationId xmlns:a16="http://schemas.microsoft.com/office/drawing/2014/main" id="{BCB23696-A8EE-4D7D-9CF8-BFE08B462CA1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968167" y="2222844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34" name="Text Placeholder 6">
            <a:extLst>
              <a:ext uri="{FF2B5EF4-FFF2-40B4-BE49-F238E27FC236}">
                <a16:creationId xmlns:a16="http://schemas.microsoft.com/office/drawing/2014/main" id="{E3258258-BD87-4BF7-A9C9-7E4A20BC8D3D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1968167" y="3064563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35" name="Text Placeholder 6">
            <a:extLst>
              <a:ext uri="{FF2B5EF4-FFF2-40B4-BE49-F238E27FC236}">
                <a16:creationId xmlns:a16="http://schemas.microsoft.com/office/drawing/2014/main" id="{F0CC60F9-E018-493B-A231-1CF8D7DF68AD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1968167" y="3906282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36" name="Text Placeholder 6">
            <a:extLst>
              <a:ext uri="{FF2B5EF4-FFF2-40B4-BE49-F238E27FC236}">
                <a16:creationId xmlns:a16="http://schemas.microsoft.com/office/drawing/2014/main" id="{70697D3F-4B19-4E9B-B001-70DCCED5AAEE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1968167" y="4748001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37" name="Text Placeholder 6">
            <a:extLst>
              <a:ext uri="{FF2B5EF4-FFF2-40B4-BE49-F238E27FC236}">
                <a16:creationId xmlns:a16="http://schemas.microsoft.com/office/drawing/2014/main" id="{87D41523-EEDC-4E02-B090-DC27D43D682D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1968167" y="5589718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38" name="Text Placeholder 6">
            <a:extLst>
              <a:ext uri="{FF2B5EF4-FFF2-40B4-BE49-F238E27FC236}">
                <a16:creationId xmlns:a16="http://schemas.microsoft.com/office/drawing/2014/main" id="{8E766D98-EE19-481A-A53E-6807A968ABAD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117600" y="1381125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39" name="Text Placeholder 6">
            <a:extLst>
              <a:ext uri="{FF2B5EF4-FFF2-40B4-BE49-F238E27FC236}">
                <a16:creationId xmlns:a16="http://schemas.microsoft.com/office/drawing/2014/main" id="{B2146F9C-B635-4DAF-B173-D1BB2897C7A2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1117600" y="2222844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40" name="Text Placeholder 6">
            <a:extLst>
              <a:ext uri="{FF2B5EF4-FFF2-40B4-BE49-F238E27FC236}">
                <a16:creationId xmlns:a16="http://schemas.microsoft.com/office/drawing/2014/main" id="{4F56AAD3-4EAB-4030-838D-7F5893CBAAFE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1117600" y="3064563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41" name="Text Placeholder 6">
            <a:extLst>
              <a:ext uri="{FF2B5EF4-FFF2-40B4-BE49-F238E27FC236}">
                <a16:creationId xmlns:a16="http://schemas.microsoft.com/office/drawing/2014/main" id="{5C907538-E1C5-4754-89E9-C3EB0BA8E6DF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1117600" y="3906282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42" name="Text Placeholder 6">
            <a:extLst>
              <a:ext uri="{FF2B5EF4-FFF2-40B4-BE49-F238E27FC236}">
                <a16:creationId xmlns:a16="http://schemas.microsoft.com/office/drawing/2014/main" id="{F15BB5B4-070C-45C6-8263-A39458E6957D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1117600" y="4748001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43" name="Text Placeholder 6">
            <a:extLst>
              <a:ext uri="{FF2B5EF4-FFF2-40B4-BE49-F238E27FC236}">
                <a16:creationId xmlns:a16="http://schemas.microsoft.com/office/drawing/2014/main" id="{4794B6D5-516E-4598-95CB-8FACBE449A19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1117600" y="5589718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44" name="Text Placeholder 6">
            <a:extLst>
              <a:ext uri="{FF2B5EF4-FFF2-40B4-BE49-F238E27FC236}">
                <a16:creationId xmlns:a16="http://schemas.microsoft.com/office/drawing/2014/main" id="{2375903A-F4B6-40A4-9007-A4446B00364B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7113355" y="1381125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45" name="Text Placeholder 6">
            <a:extLst>
              <a:ext uri="{FF2B5EF4-FFF2-40B4-BE49-F238E27FC236}">
                <a16:creationId xmlns:a16="http://schemas.microsoft.com/office/drawing/2014/main" id="{2597909E-9336-428B-BD7D-97A3705EE7B6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7113355" y="2222844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46" name="Text Placeholder 6">
            <a:extLst>
              <a:ext uri="{FF2B5EF4-FFF2-40B4-BE49-F238E27FC236}">
                <a16:creationId xmlns:a16="http://schemas.microsoft.com/office/drawing/2014/main" id="{17599A58-0AE1-48B2-8DB7-C4041E1E2284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7113355" y="3064563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47" name="Text Placeholder 6">
            <a:extLst>
              <a:ext uri="{FF2B5EF4-FFF2-40B4-BE49-F238E27FC236}">
                <a16:creationId xmlns:a16="http://schemas.microsoft.com/office/drawing/2014/main" id="{75E0B5C7-0542-41B5-83BD-F4877256F024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7113355" y="3906282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48" name="Text Placeholder 6">
            <a:extLst>
              <a:ext uri="{FF2B5EF4-FFF2-40B4-BE49-F238E27FC236}">
                <a16:creationId xmlns:a16="http://schemas.microsoft.com/office/drawing/2014/main" id="{13407488-E31A-4BD6-BA18-CEE59220234C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7113355" y="4748001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49" name="Text Placeholder 6">
            <a:extLst>
              <a:ext uri="{FF2B5EF4-FFF2-40B4-BE49-F238E27FC236}">
                <a16:creationId xmlns:a16="http://schemas.microsoft.com/office/drawing/2014/main" id="{473C5B7A-5DE6-4EE7-A616-36152F429213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7113355" y="5589718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50" name="Text Placeholder 6">
            <a:extLst>
              <a:ext uri="{FF2B5EF4-FFF2-40B4-BE49-F238E27FC236}">
                <a16:creationId xmlns:a16="http://schemas.microsoft.com/office/drawing/2014/main" id="{D32C3EDB-5591-4579-9FE5-7193CC5A5C10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262788" y="1381125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1" name="Text Placeholder 6">
            <a:extLst>
              <a:ext uri="{FF2B5EF4-FFF2-40B4-BE49-F238E27FC236}">
                <a16:creationId xmlns:a16="http://schemas.microsoft.com/office/drawing/2014/main" id="{57A219F9-4663-4810-9DB6-6EA406D3B6CE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6262788" y="2222844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2" name="Text Placeholder 6">
            <a:extLst>
              <a:ext uri="{FF2B5EF4-FFF2-40B4-BE49-F238E27FC236}">
                <a16:creationId xmlns:a16="http://schemas.microsoft.com/office/drawing/2014/main" id="{BDC7CE9C-FBC7-4161-BD88-75178F21B731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6262788" y="3064563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3" name="Text Placeholder 6">
            <a:extLst>
              <a:ext uri="{FF2B5EF4-FFF2-40B4-BE49-F238E27FC236}">
                <a16:creationId xmlns:a16="http://schemas.microsoft.com/office/drawing/2014/main" id="{11ACFE30-978D-4A7F-97D7-D7AC99268D5A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6262788" y="3906282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4" name="Text Placeholder 6">
            <a:extLst>
              <a:ext uri="{FF2B5EF4-FFF2-40B4-BE49-F238E27FC236}">
                <a16:creationId xmlns:a16="http://schemas.microsoft.com/office/drawing/2014/main" id="{CCC62BDF-1677-4A73-8312-A8E0954470A0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6262788" y="4748001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5" name="Text Placeholder 6">
            <a:extLst>
              <a:ext uri="{FF2B5EF4-FFF2-40B4-BE49-F238E27FC236}">
                <a16:creationId xmlns:a16="http://schemas.microsoft.com/office/drawing/2014/main" id="{9646ABFE-34F3-4E34-8A80-DF3F4164BB5C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6262788" y="5589718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3AEA049-3D98-4D27-BBB6-7363FCAE05E4}"/>
              </a:ext>
            </a:extLst>
          </p:cNvPr>
          <p:cNvSpPr>
            <a:spLocks noGrp="1"/>
          </p:cNvSpPr>
          <p:nvPr>
            <p:ph type="dt" sz="half" idx="61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2/25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E6CB17F-ACF8-494F-935E-30DE3EDF065F}"/>
              </a:ext>
            </a:extLst>
          </p:cNvPr>
          <p:cNvSpPr>
            <a:spLocks noGrp="1"/>
          </p:cNvSpPr>
          <p:nvPr>
            <p:ph type="ftr" sz="quarter" idx="62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8133BF0-8957-4E9B-BE04-D45722805AD4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84040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2 / time slo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Add agenda title</a:t>
            </a:r>
          </a:p>
        </p:txBody>
      </p:sp>
      <p:sp>
        <p:nvSpPr>
          <p:cNvPr id="41" name="Text Placeholder 6"/>
          <p:cNvSpPr>
            <a:spLocks noGrp="1"/>
          </p:cNvSpPr>
          <p:nvPr>
            <p:ph type="body" sz="quarter" idx="61" hasCustomPrompt="1"/>
          </p:nvPr>
        </p:nvSpPr>
        <p:spPr>
          <a:xfrm>
            <a:off x="479425" y="1669646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42" name="Text Placeholder 6"/>
          <p:cNvSpPr>
            <a:spLocks noGrp="1"/>
          </p:cNvSpPr>
          <p:nvPr>
            <p:ph type="body" sz="quarter" idx="62" hasCustomPrompt="1"/>
          </p:nvPr>
        </p:nvSpPr>
        <p:spPr>
          <a:xfrm>
            <a:off x="2305050" y="1669646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43" name="Text Placeholder 6"/>
          <p:cNvSpPr>
            <a:spLocks noGrp="1"/>
          </p:cNvSpPr>
          <p:nvPr>
            <p:ph type="body" sz="quarter" idx="63" hasCustomPrompt="1"/>
          </p:nvPr>
        </p:nvSpPr>
        <p:spPr>
          <a:xfrm>
            <a:off x="8148638" y="1669646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44" name="Text Placeholder 6"/>
          <p:cNvSpPr>
            <a:spLocks noGrp="1"/>
          </p:cNvSpPr>
          <p:nvPr>
            <p:ph type="body" sz="quarter" idx="64" hasCustomPrompt="1"/>
          </p:nvPr>
        </p:nvSpPr>
        <p:spPr>
          <a:xfrm>
            <a:off x="479425" y="2224867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45" name="Text Placeholder 6"/>
          <p:cNvSpPr>
            <a:spLocks noGrp="1"/>
          </p:cNvSpPr>
          <p:nvPr>
            <p:ph type="body" sz="quarter" idx="65" hasCustomPrompt="1"/>
          </p:nvPr>
        </p:nvSpPr>
        <p:spPr>
          <a:xfrm>
            <a:off x="2305050" y="2224867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46" name="Text Placeholder 6"/>
          <p:cNvSpPr>
            <a:spLocks noGrp="1"/>
          </p:cNvSpPr>
          <p:nvPr>
            <p:ph type="body" sz="quarter" idx="66" hasCustomPrompt="1"/>
          </p:nvPr>
        </p:nvSpPr>
        <p:spPr>
          <a:xfrm>
            <a:off x="8148638" y="2224867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47" name="Text Placeholder 6"/>
          <p:cNvSpPr>
            <a:spLocks noGrp="1"/>
          </p:cNvSpPr>
          <p:nvPr>
            <p:ph type="body" sz="quarter" idx="67" hasCustomPrompt="1"/>
          </p:nvPr>
        </p:nvSpPr>
        <p:spPr>
          <a:xfrm>
            <a:off x="479425" y="2780088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48" name="Text Placeholder 6"/>
          <p:cNvSpPr>
            <a:spLocks noGrp="1"/>
          </p:cNvSpPr>
          <p:nvPr>
            <p:ph type="body" sz="quarter" idx="68" hasCustomPrompt="1"/>
          </p:nvPr>
        </p:nvSpPr>
        <p:spPr>
          <a:xfrm>
            <a:off x="2305050" y="2780088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49" name="Text Placeholder 6"/>
          <p:cNvSpPr>
            <a:spLocks noGrp="1"/>
          </p:cNvSpPr>
          <p:nvPr>
            <p:ph type="body" sz="quarter" idx="69" hasCustomPrompt="1"/>
          </p:nvPr>
        </p:nvSpPr>
        <p:spPr>
          <a:xfrm>
            <a:off x="8148638" y="2780088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50" name="Text Placeholder 6"/>
          <p:cNvSpPr>
            <a:spLocks noGrp="1"/>
          </p:cNvSpPr>
          <p:nvPr>
            <p:ph type="body" sz="quarter" idx="70" hasCustomPrompt="1"/>
          </p:nvPr>
        </p:nvSpPr>
        <p:spPr>
          <a:xfrm>
            <a:off x="479425" y="3335309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51" name="Text Placeholder 6"/>
          <p:cNvSpPr>
            <a:spLocks noGrp="1"/>
          </p:cNvSpPr>
          <p:nvPr>
            <p:ph type="body" sz="quarter" idx="71" hasCustomPrompt="1"/>
          </p:nvPr>
        </p:nvSpPr>
        <p:spPr>
          <a:xfrm>
            <a:off x="2305050" y="3335309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52" name="Text Placeholder 6"/>
          <p:cNvSpPr>
            <a:spLocks noGrp="1"/>
          </p:cNvSpPr>
          <p:nvPr>
            <p:ph type="body" sz="quarter" idx="72" hasCustomPrompt="1"/>
          </p:nvPr>
        </p:nvSpPr>
        <p:spPr>
          <a:xfrm>
            <a:off x="8148638" y="3335309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53" name="Text Placeholder 6"/>
          <p:cNvSpPr>
            <a:spLocks noGrp="1"/>
          </p:cNvSpPr>
          <p:nvPr>
            <p:ph type="body" sz="quarter" idx="73" hasCustomPrompt="1"/>
          </p:nvPr>
        </p:nvSpPr>
        <p:spPr>
          <a:xfrm>
            <a:off x="479425" y="3890530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54" name="Text Placeholder 6"/>
          <p:cNvSpPr>
            <a:spLocks noGrp="1"/>
          </p:cNvSpPr>
          <p:nvPr>
            <p:ph type="body" sz="quarter" idx="74" hasCustomPrompt="1"/>
          </p:nvPr>
        </p:nvSpPr>
        <p:spPr>
          <a:xfrm>
            <a:off x="2305050" y="3890530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55" name="Text Placeholder 6"/>
          <p:cNvSpPr>
            <a:spLocks noGrp="1"/>
          </p:cNvSpPr>
          <p:nvPr>
            <p:ph type="body" sz="quarter" idx="75" hasCustomPrompt="1"/>
          </p:nvPr>
        </p:nvSpPr>
        <p:spPr>
          <a:xfrm>
            <a:off x="8148638" y="3890530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56" name="Text Placeholder 6"/>
          <p:cNvSpPr>
            <a:spLocks noGrp="1"/>
          </p:cNvSpPr>
          <p:nvPr>
            <p:ph type="body" sz="quarter" idx="76" hasCustomPrompt="1"/>
          </p:nvPr>
        </p:nvSpPr>
        <p:spPr>
          <a:xfrm>
            <a:off x="479425" y="4445751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57" name="Text Placeholder 6"/>
          <p:cNvSpPr>
            <a:spLocks noGrp="1"/>
          </p:cNvSpPr>
          <p:nvPr>
            <p:ph type="body" sz="quarter" idx="77" hasCustomPrompt="1"/>
          </p:nvPr>
        </p:nvSpPr>
        <p:spPr>
          <a:xfrm>
            <a:off x="2305050" y="4445751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60" name="Text Placeholder 6"/>
          <p:cNvSpPr>
            <a:spLocks noGrp="1"/>
          </p:cNvSpPr>
          <p:nvPr>
            <p:ph type="body" sz="quarter" idx="78" hasCustomPrompt="1"/>
          </p:nvPr>
        </p:nvSpPr>
        <p:spPr>
          <a:xfrm>
            <a:off x="8148638" y="4445751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61" name="Text Placeholder 6"/>
          <p:cNvSpPr>
            <a:spLocks noGrp="1"/>
          </p:cNvSpPr>
          <p:nvPr>
            <p:ph type="body" sz="quarter" idx="79" hasCustomPrompt="1"/>
          </p:nvPr>
        </p:nvSpPr>
        <p:spPr>
          <a:xfrm>
            <a:off x="479425" y="5000972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62" name="Text Placeholder 6"/>
          <p:cNvSpPr>
            <a:spLocks noGrp="1"/>
          </p:cNvSpPr>
          <p:nvPr>
            <p:ph type="body" sz="quarter" idx="80" hasCustomPrompt="1"/>
          </p:nvPr>
        </p:nvSpPr>
        <p:spPr>
          <a:xfrm>
            <a:off x="2305050" y="5000972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87" name="Text Placeholder 6"/>
          <p:cNvSpPr>
            <a:spLocks noGrp="1"/>
          </p:cNvSpPr>
          <p:nvPr>
            <p:ph type="body" sz="quarter" idx="81" hasCustomPrompt="1"/>
          </p:nvPr>
        </p:nvSpPr>
        <p:spPr>
          <a:xfrm>
            <a:off x="8148638" y="5000972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88" name="Text Placeholder 6"/>
          <p:cNvSpPr>
            <a:spLocks noGrp="1"/>
          </p:cNvSpPr>
          <p:nvPr>
            <p:ph type="body" sz="quarter" idx="82" hasCustomPrompt="1"/>
          </p:nvPr>
        </p:nvSpPr>
        <p:spPr>
          <a:xfrm>
            <a:off x="479425" y="5556195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89" name="Text Placeholder 6"/>
          <p:cNvSpPr>
            <a:spLocks noGrp="1"/>
          </p:cNvSpPr>
          <p:nvPr>
            <p:ph type="body" sz="quarter" idx="83" hasCustomPrompt="1"/>
          </p:nvPr>
        </p:nvSpPr>
        <p:spPr>
          <a:xfrm>
            <a:off x="2305050" y="5556195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90" name="Text Placeholder 6"/>
          <p:cNvSpPr>
            <a:spLocks noGrp="1"/>
          </p:cNvSpPr>
          <p:nvPr>
            <p:ph type="body" sz="quarter" idx="84" hasCustomPrompt="1"/>
          </p:nvPr>
        </p:nvSpPr>
        <p:spPr>
          <a:xfrm>
            <a:off x="8148638" y="5556195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5AF44546-1648-451C-910B-498F6D308F00}"/>
              </a:ext>
            </a:extLst>
          </p:cNvPr>
          <p:cNvGrpSpPr/>
          <p:nvPr userDrawn="1"/>
        </p:nvGrpSpPr>
        <p:grpSpPr>
          <a:xfrm>
            <a:off x="479425" y="2147408"/>
            <a:ext cx="1611313" cy="3869217"/>
            <a:chOff x="479425" y="2414108"/>
            <a:chExt cx="1611313" cy="3869217"/>
          </a:xfrm>
        </p:grpSpPr>
        <p:cxnSp>
          <p:nvCxnSpPr>
            <p:cNvPr id="8" name="Straight Connector 7">
              <a:extLst>
                <a:ext uri="{FF2B5EF4-FFF2-40B4-BE49-F238E27FC236}">
                  <a16:creationId xmlns:a16="http://schemas.microsoft.com/office/drawing/2014/main" id="{A42555AF-E1A4-47F5-9169-374271B957B4}"/>
                </a:ext>
              </a:extLst>
            </p:cNvPr>
            <p:cNvCxnSpPr/>
            <p:nvPr userDrawn="1"/>
          </p:nvCxnSpPr>
          <p:spPr>
            <a:xfrm>
              <a:off x="479425" y="24141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B6555386-084F-44D3-B220-7A39E6783EB0}"/>
                </a:ext>
              </a:extLst>
            </p:cNvPr>
            <p:cNvCxnSpPr/>
            <p:nvPr userDrawn="1"/>
          </p:nvCxnSpPr>
          <p:spPr>
            <a:xfrm>
              <a:off x="479425" y="294188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>
              <a:extLst>
                <a:ext uri="{FF2B5EF4-FFF2-40B4-BE49-F238E27FC236}">
                  <a16:creationId xmlns:a16="http://schemas.microsoft.com/office/drawing/2014/main" id="{3FC74258-649D-42DB-8F4B-05803E4E7B8D}"/>
                </a:ext>
              </a:extLst>
            </p:cNvPr>
            <p:cNvCxnSpPr/>
            <p:nvPr userDrawn="1"/>
          </p:nvCxnSpPr>
          <p:spPr>
            <a:xfrm>
              <a:off x="479425" y="349324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>
              <a:extLst>
                <a:ext uri="{FF2B5EF4-FFF2-40B4-BE49-F238E27FC236}">
                  <a16:creationId xmlns:a16="http://schemas.microsoft.com/office/drawing/2014/main" id="{B1A03A7E-9A9A-4333-9151-BC46EA3D27AE}"/>
                </a:ext>
              </a:extLst>
            </p:cNvPr>
            <p:cNvCxnSpPr/>
            <p:nvPr userDrawn="1"/>
          </p:nvCxnSpPr>
          <p:spPr>
            <a:xfrm>
              <a:off x="479425" y="406243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>
              <a:extLst>
                <a:ext uri="{FF2B5EF4-FFF2-40B4-BE49-F238E27FC236}">
                  <a16:creationId xmlns:a16="http://schemas.microsoft.com/office/drawing/2014/main" id="{E14D6B63-DD53-44E0-AA42-1B8355B27F89}"/>
                </a:ext>
              </a:extLst>
            </p:cNvPr>
            <p:cNvCxnSpPr/>
            <p:nvPr userDrawn="1"/>
          </p:nvCxnSpPr>
          <p:spPr>
            <a:xfrm>
              <a:off x="479425" y="4617660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EA73CE9F-97CF-4512-BA54-4F5407269A09}"/>
                </a:ext>
              </a:extLst>
            </p:cNvPr>
            <p:cNvCxnSpPr/>
            <p:nvPr userDrawn="1"/>
          </p:nvCxnSpPr>
          <p:spPr>
            <a:xfrm>
              <a:off x="479425" y="51826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D9934C2C-659B-435B-A3B2-493AAA8DE686}"/>
                </a:ext>
              </a:extLst>
            </p:cNvPr>
            <p:cNvCxnSpPr/>
            <p:nvPr userDrawn="1"/>
          </p:nvCxnSpPr>
          <p:spPr>
            <a:xfrm>
              <a:off x="479425" y="572202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D0207F92-367E-4524-AEC3-120A62965AEE}"/>
                </a:ext>
              </a:extLst>
            </p:cNvPr>
            <p:cNvCxnSpPr/>
            <p:nvPr userDrawn="1"/>
          </p:nvCxnSpPr>
          <p:spPr>
            <a:xfrm>
              <a:off x="479425" y="6283325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4" name="Group 63">
            <a:extLst>
              <a:ext uri="{FF2B5EF4-FFF2-40B4-BE49-F238E27FC236}">
                <a16:creationId xmlns:a16="http://schemas.microsoft.com/office/drawing/2014/main" id="{D4339DDD-B4E1-4358-B5FA-586443067ECA}"/>
              </a:ext>
            </a:extLst>
          </p:cNvPr>
          <p:cNvGrpSpPr/>
          <p:nvPr userDrawn="1"/>
        </p:nvGrpSpPr>
        <p:grpSpPr>
          <a:xfrm>
            <a:off x="2305050" y="2147408"/>
            <a:ext cx="5629275" cy="3869217"/>
            <a:chOff x="479425" y="2414108"/>
            <a:chExt cx="1611313" cy="3869217"/>
          </a:xfrm>
        </p:grpSpPr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6EBD5BF6-E829-4F5D-A7C5-0B0025A2B99F}"/>
                </a:ext>
              </a:extLst>
            </p:cNvPr>
            <p:cNvCxnSpPr/>
            <p:nvPr userDrawn="1"/>
          </p:nvCxnSpPr>
          <p:spPr>
            <a:xfrm>
              <a:off x="479425" y="24141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D595886B-5507-40D2-BF5B-5383C7AABAD4}"/>
                </a:ext>
              </a:extLst>
            </p:cNvPr>
            <p:cNvCxnSpPr/>
            <p:nvPr userDrawn="1"/>
          </p:nvCxnSpPr>
          <p:spPr>
            <a:xfrm>
              <a:off x="479425" y="294188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9675BA35-8745-48FB-A3AD-4DEF70AC235D}"/>
                </a:ext>
              </a:extLst>
            </p:cNvPr>
            <p:cNvCxnSpPr/>
            <p:nvPr userDrawn="1"/>
          </p:nvCxnSpPr>
          <p:spPr>
            <a:xfrm>
              <a:off x="479425" y="349324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C039D460-405B-4C89-B79D-7C5F880B0C58}"/>
                </a:ext>
              </a:extLst>
            </p:cNvPr>
            <p:cNvCxnSpPr/>
            <p:nvPr userDrawn="1"/>
          </p:nvCxnSpPr>
          <p:spPr>
            <a:xfrm>
              <a:off x="479425" y="406243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A13AA718-6E4C-4272-9664-3EEC7F75FBA9}"/>
                </a:ext>
              </a:extLst>
            </p:cNvPr>
            <p:cNvCxnSpPr/>
            <p:nvPr userDrawn="1"/>
          </p:nvCxnSpPr>
          <p:spPr>
            <a:xfrm>
              <a:off x="479425" y="4617660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A585297A-85B5-40D8-B839-32C2284A0177}"/>
                </a:ext>
              </a:extLst>
            </p:cNvPr>
            <p:cNvCxnSpPr/>
            <p:nvPr userDrawn="1"/>
          </p:nvCxnSpPr>
          <p:spPr>
            <a:xfrm>
              <a:off x="479425" y="51826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45BDA541-7155-4EFF-9480-6AE2114A726F}"/>
                </a:ext>
              </a:extLst>
            </p:cNvPr>
            <p:cNvCxnSpPr/>
            <p:nvPr userDrawn="1"/>
          </p:nvCxnSpPr>
          <p:spPr>
            <a:xfrm>
              <a:off x="479425" y="572202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FEF7B504-2473-4887-8FC2-1F170BFC35C3}"/>
                </a:ext>
              </a:extLst>
            </p:cNvPr>
            <p:cNvCxnSpPr/>
            <p:nvPr userDrawn="1"/>
          </p:nvCxnSpPr>
          <p:spPr>
            <a:xfrm>
              <a:off x="479425" y="6283325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3" name="Group 72">
            <a:extLst>
              <a:ext uri="{FF2B5EF4-FFF2-40B4-BE49-F238E27FC236}">
                <a16:creationId xmlns:a16="http://schemas.microsoft.com/office/drawing/2014/main" id="{B2810FF3-0234-4B54-BE32-7F32EEC9220B}"/>
              </a:ext>
            </a:extLst>
          </p:cNvPr>
          <p:cNvGrpSpPr/>
          <p:nvPr userDrawn="1"/>
        </p:nvGrpSpPr>
        <p:grpSpPr>
          <a:xfrm>
            <a:off x="8148636" y="2147408"/>
            <a:ext cx="3563937" cy="3869217"/>
            <a:chOff x="479425" y="2414108"/>
            <a:chExt cx="1611313" cy="3869217"/>
          </a:xfrm>
        </p:grpSpPr>
        <p:cxnSp>
          <p:nvCxnSpPr>
            <p:cNvPr id="74" name="Straight Connector 73">
              <a:extLst>
                <a:ext uri="{FF2B5EF4-FFF2-40B4-BE49-F238E27FC236}">
                  <a16:creationId xmlns:a16="http://schemas.microsoft.com/office/drawing/2014/main" id="{63DAC0C6-1596-44CF-8D3E-DEECCFCEB7CC}"/>
                </a:ext>
              </a:extLst>
            </p:cNvPr>
            <p:cNvCxnSpPr/>
            <p:nvPr userDrawn="1"/>
          </p:nvCxnSpPr>
          <p:spPr>
            <a:xfrm>
              <a:off x="479425" y="24141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Straight Connector 74">
              <a:extLst>
                <a:ext uri="{FF2B5EF4-FFF2-40B4-BE49-F238E27FC236}">
                  <a16:creationId xmlns:a16="http://schemas.microsoft.com/office/drawing/2014/main" id="{A3FFDAAC-D868-410B-A29F-658E0FAA73D7}"/>
                </a:ext>
              </a:extLst>
            </p:cNvPr>
            <p:cNvCxnSpPr/>
            <p:nvPr userDrawn="1"/>
          </p:nvCxnSpPr>
          <p:spPr>
            <a:xfrm>
              <a:off x="479425" y="294188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Straight Connector 75">
              <a:extLst>
                <a:ext uri="{FF2B5EF4-FFF2-40B4-BE49-F238E27FC236}">
                  <a16:creationId xmlns:a16="http://schemas.microsoft.com/office/drawing/2014/main" id="{AB109B53-EDD2-476E-80A7-AFB992AF7D43}"/>
                </a:ext>
              </a:extLst>
            </p:cNvPr>
            <p:cNvCxnSpPr/>
            <p:nvPr userDrawn="1"/>
          </p:nvCxnSpPr>
          <p:spPr>
            <a:xfrm>
              <a:off x="479425" y="349324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Straight Connector 76">
              <a:extLst>
                <a:ext uri="{FF2B5EF4-FFF2-40B4-BE49-F238E27FC236}">
                  <a16:creationId xmlns:a16="http://schemas.microsoft.com/office/drawing/2014/main" id="{B04AFB6E-1ED5-4909-80A7-0C41EBB886B9}"/>
                </a:ext>
              </a:extLst>
            </p:cNvPr>
            <p:cNvCxnSpPr/>
            <p:nvPr userDrawn="1"/>
          </p:nvCxnSpPr>
          <p:spPr>
            <a:xfrm>
              <a:off x="479425" y="406243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Straight Connector 77">
              <a:extLst>
                <a:ext uri="{FF2B5EF4-FFF2-40B4-BE49-F238E27FC236}">
                  <a16:creationId xmlns:a16="http://schemas.microsoft.com/office/drawing/2014/main" id="{B8D16148-854F-429E-9BE5-ACB42857AFC3}"/>
                </a:ext>
              </a:extLst>
            </p:cNvPr>
            <p:cNvCxnSpPr/>
            <p:nvPr userDrawn="1"/>
          </p:nvCxnSpPr>
          <p:spPr>
            <a:xfrm>
              <a:off x="479425" y="4617660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Straight Connector 78">
              <a:extLst>
                <a:ext uri="{FF2B5EF4-FFF2-40B4-BE49-F238E27FC236}">
                  <a16:creationId xmlns:a16="http://schemas.microsoft.com/office/drawing/2014/main" id="{2D279F8E-5166-4C03-A3BF-EE2758DA71B3}"/>
                </a:ext>
              </a:extLst>
            </p:cNvPr>
            <p:cNvCxnSpPr/>
            <p:nvPr userDrawn="1"/>
          </p:nvCxnSpPr>
          <p:spPr>
            <a:xfrm>
              <a:off x="479425" y="51826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Straight Connector 79">
              <a:extLst>
                <a:ext uri="{FF2B5EF4-FFF2-40B4-BE49-F238E27FC236}">
                  <a16:creationId xmlns:a16="http://schemas.microsoft.com/office/drawing/2014/main" id="{3A451ACE-7DEC-41A9-A0A0-952E37DFB5A8}"/>
                </a:ext>
              </a:extLst>
            </p:cNvPr>
            <p:cNvCxnSpPr/>
            <p:nvPr userDrawn="1"/>
          </p:nvCxnSpPr>
          <p:spPr>
            <a:xfrm>
              <a:off x="479425" y="572202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Straight Connector 80">
              <a:extLst>
                <a:ext uri="{FF2B5EF4-FFF2-40B4-BE49-F238E27FC236}">
                  <a16:creationId xmlns:a16="http://schemas.microsoft.com/office/drawing/2014/main" id="{F4A4AEAD-0AA2-4ADE-A79A-B34BB9BAFAA2}"/>
                </a:ext>
              </a:extLst>
            </p:cNvPr>
            <p:cNvCxnSpPr/>
            <p:nvPr userDrawn="1"/>
          </p:nvCxnSpPr>
          <p:spPr>
            <a:xfrm>
              <a:off x="479425" y="6283325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1834548-5653-41F2-B56C-2C649F09CA2A}"/>
              </a:ext>
            </a:extLst>
          </p:cNvPr>
          <p:cNvSpPr>
            <a:spLocks noGrp="1"/>
          </p:cNvSpPr>
          <p:nvPr>
            <p:ph type="dt" sz="half" idx="85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2/25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E97B84B0-822D-49C6-A34C-86186352F6A5}"/>
              </a:ext>
            </a:extLst>
          </p:cNvPr>
          <p:cNvSpPr>
            <a:spLocks noGrp="1"/>
          </p:cNvSpPr>
          <p:nvPr>
            <p:ph type="ftr" sz="quarter" idx="86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FD0B388B-F2D2-4661-9DC9-E8C0621E3BBE}"/>
              </a:ext>
            </a:extLst>
          </p:cNvPr>
          <p:cNvSpPr>
            <a:spLocks noGrp="1"/>
          </p:cNvSpPr>
          <p:nvPr>
            <p:ph type="sldNum" sz="quarter" idx="8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84530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" y="0"/>
            <a:ext cx="12191999" cy="6283325"/>
          </a:xfrm>
          <a:solidFill>
            <a:schemeClr val="tx1"/>
          </a:solidFill>
        </p:spPr>
        <p:txBody>
          <a:bodyPr vert="horz" lIns="396000" tIns="1188000" rIns="0" bIns="0" rtlCol="0" anchor="t">
            <a:noAutofit/>
          </a:bodyPr>
          <a:lstStyle>
            <a:lvl1pPr>
              <a:defRPr lang="en-US" sz="1120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noProof="0"/>
              <a:t>No.</a:t>
            </a:r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9E59AC80-2065-4B79-ABB9-E0090AED576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1905581"/>
            <a:ext cx="4533899" cy="3355393"/>
          </a:xfrm>
        </p:spPr>
        <p:txBody>
          <a:bodyPr/>
          <a:lstStyle>
            <a:lvl1pPr marL="0" indent="0">
              <a:buNone/>
              <a:defRPr sz="2400" b="0">
                <a:solidFill>
                  <a:schemeClr val="bg1"/>
                </a:solidFill>
              </a:defRPr>
            </a:lvl1pPr>
            <a:lvl2pPr marL="199104" indent="0">
              <a:buNone/>
              <a:defRPr sz="2400" b="1">
                <a:solidFill>
                  <a:schemeClr val="bg1"/>
                </a:solidFill>
              </a:defRPr>
            </a:lvl2pPr>
            <a:lvl3pPr marL="398209" indent="0">
              <a:buNone/>
              <a:defRPr sz="2400" b="1">
                <a:solidFill>
                  <a:schemeClr val="bg1"/>
                </a:solidFill>
              </a:defRPr>
            </a:lvl3pPr>
            <a:lvl4pPr marL="597314" indent="0">
              <a:buNone/>
              <a:defRPr sz="2400" b="1">
                <a:solidFill>
                  <a:schemeClr val="bg1"/>
                </a:solidFill>
              </a:defRPr>
            </a:lvl4pPr>
            <a:lvl5pPr marL="810640" indent="0">
              <a:buNone/>
              <a:defRPr sz="24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hapter description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69CADED-E389-4A90-8695-2241B35CC4B1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2/25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A70BB6-25A7-4634-8894-E73E4AFD407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2963D1F-9BC2-4C83-B4E0-D420BF762FF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44056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dsholder til billede 3">
            <a:extLst>
              <a:ext uri="{FF2B5EF4-FFF2-40B4-BE49-F238E27FC236}">
                <a16:creationId xmlns:a16="http://schemas.microsoft.com/office/drawing/2014/main" id="{4B4BFD70-DB4E-40A7-BB2B-CDCE358B2D1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283325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noProof="0"/>
              <a:t>Click to insert a pictur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4F308AD-319A-4257-8F36-D8EC672BBAF8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2/25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E2CDDB3-FE79-401E-B3FC-2814F04A41D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86AB3FD-5A37-415A-B656-2C687E1EE8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95103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801200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63" imgH="659" progId="TCLayout.ActiveDocument.1">
                  <p:embed/>
                </p:oleObj>
              </mc:Choice>
              <mc:Fallback>
                <p:oleObj name="think-cell Slide" r:id="rId3" imgW="663" imgH="65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Content Placeholder 11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B898C72-7053-41C8-962D-E7ABA07F07D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DF8D286F-0631-4A74-BC0F-B8FAF09572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08CF4EB-E2D2-439D-9045-B7CD284FB98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2/25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958D13E1-3A34-43A4-9A9E-36AA9757391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779AEF6-0861-4BED-8DBA-F8E201DBF67A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50149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36B0225-7039-48B3-98CA-F9C79F378E5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2/25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82861D1-EF2F-4EB2-AEF2-E522D67DA9D4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3C9D6DA-69E9-442F-A773-A891DDE182EB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Content Placeholder 15">
            <a:extLst>
              <a:ext uri="{FF2B5EF4-FFF2-40B4-BE49-F238E27FC236}">
                <a16:creationId xmlns:a16="http://schemas.microsoft.com/office/drawing/2014/main" id="{0E30B8C3-99BC-4EA8-9F51-16441ACFF127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79425" y="1520455"/>
            <a:ext cx="5453230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Content Placeholder 15">
            <a:extLst>
              <a:ext uri="{FF2B5EF4-FFF2-40B4-BE49-F238E27FC236}">
                <a16:creationId xmlns:a16="http://schemas.microsoft.com/office/drawing/2014/main" id="{75D73B26-0895-4883-BA0C-764814FBE6E2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6257393" y="1520455"/>
            <a:ext cx="5453230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5933180D-75FE-4F14-8D5E-D9A2074AA93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D00FB905-32CD-42E9-8258-F12B297987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11218549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Content Placeholder 15"/>
          <p:cNvSpPr>
            <a:spLocks noGrp="1"/>
          </p:cNvSpPr>
          <p:nvPr>
            <p:ph sz="quarter" idx="18"/>
          </p:nvPr>
        </p:nvSpPr>
        <p:spPr>
          <a:xfrm>
            <a:off x="479425" y="1520455"/>
            <a:ext cx="3559175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Content Placeholder 15">
            <a:extLst>
              <a:ext uri="{FF2B5EF4-FFF2-40B4-BE49-F238E27FC236}">
                <a16:creationId xmlns:a16="http://schemas.microsoft.com/office/drawing/2014/main" id="{0B733BB0-DDF7-43FE-8650-14ED80168530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4316412" y="1520455"/>
            <a:ext cx="3559175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Content Placeholder 15">
            <a:extLst>
              <a:ext uri="{FF2B5EF4-FFF2-40B4-BE49-F238E27FC236}">
                <a16:creationId xmlns:a16="http://schemas.microsoft.com/office/drawing/2014/main" id="{40624097-47BA-486C-B254-5708E62FF98C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153400" y="1520455"/>
            <a:ext cx="3559175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5A9E12F-56E6-4CE7-AC36-74FAA7DC90B1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2/25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5FCB355-B74E-4957-8F6A-00F07C389E77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EA9B464-C3D1-4C04-9D0D-15CDD8B1CFE8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3BD1A00F-254A-4998-AD1B-BC5B24CBC0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C65BD86D-DE0C-4FF1-A7AE-72A2DA52496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28336703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3594057031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2" imgW="270" imgH="270" progId="TCLayout.ActiveDocument.1">
                  <p:embed/>
                </p:oleObj>
              </mc:Choice>
              <mc:Fallback>
                <p:oleObj name="think-cell Slide" r:id="rId22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79425" y="494490"/>
            <a:ext cx="11233150" cy="45180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noProof="0"/>
              <a:t>Click to edit headlin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9425" y="1416345"/>
            <a:ext cx="11235102" cy="486376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3008551" y="6529068"/>
            <a:ext cx="759950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0">
                <a:solidFill>
                  <a:schemeClr val="bg2"/>
                </a:solidFill>
              </a:defRPr>
            </a:lvl1pPr>
          </a:lstStyle>
          <a:p>
            <a:fld id="{A0ABC626-455B-41B0-A0E7-A5E156590607}" type="datetime1">
              <a:rPr lang="en-US" smtClean="0"/>
              <a:pPr/>
              <a:t>2/25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20896" y="6529068"/>
            <a:ext cx="2087655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ctr">
              <a:defRPr sz="1000">
                <a:solidFill>
                  <a:schemeClr val="bg2"/>
                </a:solidFill>
              </a:defRPr>
            </a:lvl1pPr>
          </a:lstStyle>
          <a:p>
            <a:pPr algn="l"/>
            <a:r>
              <a:rPr lang="en-US"/>
              <a:t>COMPANY CONFIDENTI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79426" y="6529068"/>
            <a:ext cx="270170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0">
                <a:solidFill>
                  <a:schemeClr val="bg2"/>
                </a:solidFill>
              </a:defRPr>
            </a:lvl1pPr>
          </a:lstStyle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60" name="Picture 59">
            <a:extLst>
              <a:ext uri="{FF2B5EF4-FFF2-40B4-BE49-F238E27FC236}">
                <a16:creationId xmlns:a16="http://schemas.microsoft.com/office/drawing/2014/main" id="{E554F899-0C42-4584-AB31-B3CB5C39A5FE}"/>
              </a:ext>
            </a:extLst>
          </p:cNvPr>
          <p:cNvPicPr>
            <a:picLocks noChangeAspect="1"/>
          </p:cNvPicPr>
          <p:nvPr userDrawn="1"/>
        </p:nvPicPr>
        <p:blipFill>
          <a:blip r:embed="rId24"/>
          <a:stretch>
            <a:fillRect/>
          </a:stretch>
        </p:blipFill>
        <p:spPr>
          <a:xfrm>
            <a:off x="10221763" y="6280109"/>
            <a:ext cx="1698923" cy="578036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79F4330D-ED58-4D57-AF19-921FEB513F99}"/>
              </a:ext>
            </a:extLst>
          </p:cNvPr>
          <p:cNvCxnSpPr/>
          <p:nvPr userDrawn="1"/>
        </p:nvCxnSpPr>
        <p:spPr>
          <a:xfrm>
            <a:off x="759891" y="6529068"/>
            <a:ext cx="0" cy="153888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665656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97" r:id="rId2"/>
    <p:sldLayoutId id="2147483735" r:id="rId3"/>
    <p:sldLayoutId id="2147483698" r:id="rId4"/>
    <p:sldLayoutId id="2147483660" r:id="rId5"/>
    <p:sldLayoutId id="2147483725" r:id="rId6"/>
    <p:sldLayoutId id="2147483650" r:id="rId7"/>
    <p:sldLayoutId id="2147483652" r:id="rId8"/>
    <p:sldLayoutId id="2147483721" r:id="rId9"/>
    <p:sldLayoutId id="2147483724" r:id="rId10"/>
    <p:sldLayoutId id="2147483653" r:id="rId11"/>
    <p:sldLayoutId id="2147483723" r:id="rId12"/>
    <p:sldLayoutId id="2147483654" r:id="rId13"/>
    <p:sldLayoutId id="2147483732" r:id="rId14"/>
    <p:sldLayoutId id="2147483731" r:id="rId15"/>
    <p:sldLayoutId id="2147483728" r:id="rId16"/>
    <p:sldLayoutId id="2147483736" r:id="rId17"/>
    <p:sldLayoutId id="2147483720" r:id="rId18"/>
    <p:sldLayoutId id="2147483737" r:id="rId19"/>
  </p:sldLayoutIdLst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  <p:hf hdr="0" dt="0"/>
  <p:txStyles>
    <p:titleStyle>
      <a:lvl1pPr algn="l" defTabSz="1023967" rtl="0" eaLnBrk="1" latinLnBrk="0" hangingPunct="1">
        <a:lnSpc>
          <a:spcPts val="3100"/>
        </a:lnSpc>
        <a:spcBef>
          <a:spcPct val="0"/>
        </a:spcBef>
        <a:spcAft>
          <a:spcPts val="400"/>
        </a:spcAft>
        <a:buNone/>
        <a:tabLst>
          <a:tab pos="989013" algn="l"/>
        </a:tabLst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99105" indent="-199105" algn="l" defTabSz="1023967" rtl="0" eaLnBrk="1" latinLnBrk="0" hangingPunct="1">
        <a:lnSpc>
          <a:spcPct val="120000"/>
        </a:lnSpc>
        <a:spcBef>
          <a:spcPct val="200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98209" indent="-199105" algn="l" defTabSz="1023967" rtl="0" eaLnBrk="1" latinLnBrk="0" hangingPunct="1">
        <a:lnSpc>
          <a:spcPct val="120000"/>
        </a:lnSpc>
        <a:spcBef>
          <a:spcPct val="200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97314" indent="-199105" algn="l" defTabSz="1023967" rtl="0" eaLnBrk="1" latinLnBrk="0" hangingPunct="1">
        <a:lnSpc>
          <a:spcPct val="120000"/>
        </a:lnSpc>
        <a:spcBef>
          <a:spcPct val="20000"/>
        </a:spcBef>
        <a:buFont typeface="Courier New" panose="02070309020205020404" pitchFamily="49" charset="0"/>
        <a:buChar char="o"/>
        <a:defRPr sz="1300" kern="1200">
          <a:solidFill>
            <a:schemeClr val="tx1"/>
          </a:solidFill>
          <a:latin typeface="+mn-lt"/>
          <a:ea typeface="+mn-ea"/>
          <a:cs typeface="+mn-cs"/>
        </a:defRPr>
      </a:lvl3pPr>
      <a:lvl4pPr marL="810641" indent="-213327" algn="l" defTabSz="1023967" rtl="0" eaLnBrk="1" latinLnBrk="0" hangingPunct="1">
        <a:lnSpc>
          <a:spcPct val="120000"/>
        </a:lnSpc>
        <a:spcBef>
          <a:spcPct val="20000"/>
        </a:spcBef>
        <a:buFont typeface="Courier New" panose="02070309020205020404" pitchFamily="49" charset="0"/>
        <a:buChar char="o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009745" indent="-199105" algn="l" defTabSz="1023967" rtl="0" eaLnBrk="1" latinLnBrk="0" hangingPunct="1">
        <a:lnSpc>
          <a:spcPct val="120000"/>
        </a:lnSpc>
        <a:spcBef>
          <a:spcPct val="20000"/>
        </a:spcBef>
        <a:buFont typeface="Courier New" panose="02070309020205020404" pitchFamily="49" charset="0"/>
        <a:buChar char="o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815910" indent="-255992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327892" indent="-255992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3839876" indent="-255992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351859" indent="-255992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11984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23967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35951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47934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59918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71901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583884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4095868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00" userDrawn="1">
          <p15:clr>
            <a:srgbClr val="F26B43"/>
          </p15:clr>
        </p15:guide>
        <p15:guide id="2" pos="302" userDrawn="1">
          <p15:clr>
            <a:srgbClr val="F26B43"/>
          </p15:clr>
        </p15:guide>
        <p15:guide id="4" orient="horz" pos="3952" userDrawn="1">
          <p15:clr>
            <a:srgbClr val="F26B43"/>
          </p15:clr>
        </p15:guide>
        <p15:guide id="5" pos="7378" userDrawn="1">
          <p15:clr>
            <a:srgbClr val="F26B43"/>
          </p15:clr>
        </p15:guide>
        <p15:guide id="10" orient="horz" pos="890" userDrawn="1">
          <p15:clr>
            <a:srgbClr val="F26B43"/>
          </p15:clr>
        </p15:guide>
        <p15:guide id="18" pos="1317" userDrawn="1">
          <p15:clr>
            <a:srgbClr val="A4A3A4"/>
          </p15:clr>
        </p15:guide>
        <p15:guide id="19" pos="1452" userDrawn="1">
          <p15:clr>
            <a:srgbClr val="A4A3A4"/>
          </p15:clr>
        </p15:guide>
        <p15:guide id="22" pos="2544" userDrawn="1">
          <p15:clr>
            <a:srgbClr val="A4A3A4"/>
          </p15:clr>
        </p15:guide>
        <p15:guide id="23" pos="2679" userDrawn="1">
          <p15:clr>
            <a:srgbClr val="A4A3A4"/>
          </p15:clr>
        </p15:guide>
        <p15:guide id="26" pos="3771" userDrawn="1">
          <p15:clr>
            <a:srgbClr val="A4A3A4"/>
          </p15:clr>
        </p15:guide>
        <p15:guide id="27" pos="3906" userDrawn="1">
          <p15:clr>
            <a:srgbClr val="A4A3A4"/>
          </p15:clr>
        </p15:guide>
        <p15:guide id="30" pos="4998" userDrawn="1">
          <p15:clr>
            <a:srgbClr val="A4A3A4"/>
          </p15:clr>
        </p15:guide>
        <p15:guide id="31" pos="5133" userDrawn="1">
          <p15:clr>
            <a:srgbClr val="A4A3A4"/>
          </p15:clr>
        </p15:guide>
        <p15:guide id="34" pos="6225" userDrawn="1">
          <p15:clr>
            <a:srgbClr val="A4A3A4"/>
          </p15:clr>
        </p15:guide>
        <p15:guide id="35" pos="6360" userDrawn="1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customXml" Target="../ink/ink1.xml"/><Relationship Id="rId7" Type="http://schemas.openxmlformats.org/officeDocument/2006/relationships/image" Target="../media/image14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19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19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14.xml"/><Relationship Id="rId6" Type="http://schemas.openxmlformats.org/officeDocument/2006/relationships/image" Target="../media/image33.png"/><Relationship Id="rId5" Type="http://schemas.openxmlformats.org/officeDocument/2006/relationships/image" Target="../media/image32.emf"/><Relationship Id="rId4" Type="http://schemas.openxmlformats.org/officeDocument/2006/relationships/oleObject" Target="../embeddings/oleObject7.bin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4" Type="http://schemas.openxmlformats.org/officeDocument/2006/relationships/image" Target="../media/image34.pn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7" Type="http://schemas.openxmlformats.org/officeDocument/2006/relationships/image" Target="../media/image32.emf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15.xml"/><Relationship Id="rId6" Type="http://schemas.openxmlformats.org/officeDocument/2006/relationships/oleObject" Target="../embeddings/oleObject8.bin"/><Relationship Id="rId5" Type="http://schemas.openxmlformats.org/officeDocument/2006/relationships/image" Target="../media/image36.png"/><Relationship Id="rId4" Type="http://schemas.openxmlformats.org/officeDocument/2006/relationships/image" Target="../media/image35.tiff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7" Type="http://schemas.openxmlformats.org/officeDocument/2006/relationships/image" Target="../media/image32.emf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16.xml"/><Relationship Id="rId6" Type="http://schemas.openxmlformats.org/officeDocument/2006/relationships/oleObject" Target="../embeddings/oleObject9.bin"/><Relationship Id="rId5" Type="http://schemas.openxmlformats.org/officeDocument/2006/relationships/image" Target="../media/image38.tiff"/><Relationship Id="rId4" Type="http://schemas.openxmlformats.org/officeDocument/2006/relationships/image" Target="../media/image37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17.xml"/><Relationship Id="rId4" Type="http://schemas.openxmlformats.org/officeDocument/2006/relationships/image" Target="../media/image39.emf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18.xml"/><Relationship Id="rId4" Type="http://schemas.openxmlformats.org/officeDocument/2006/relationships/image" Target="../media/image39.emf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19.xml"/><Relationship Id="rId4" Type="http://schemas.openxmlformats.org/officeDocument/2006/relationships/image" Target="../media/image39.emf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6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20.xml"/><Relationship Id="rId4" Type="http://schemas.openxmlformats.org/officeDocument/2006/relationships/image" Target="../media/image39.emf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21.xml"/><Relationship Id="rId4" Type="http://schemas.openxmlformats.org/officeDocument/2006/relationships/image" Target="../media/image39.emf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22.xml"/><Relationship Id="rId4" Type="http://schemas.openxmlformats.org/officeDocument/2006/relationships/image" Target="../media/image39.emf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1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jpeg"/><Relationship Id="rId3" Type="http://schemas.openxmlformats.org/officeDocument/2006/relationships/image" Target="../media/image17.jpeg"/><Relationship Id="rId7" Type="http://schemas.openxmlformats.org/officeDocument/2006/relationships/image" Target="../media/image21.jpeg"/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20.jpeg"/><Relationship Id="rId5" Type="http://schemas.openxmlformats.org/officeDocument/2006/relationships/image" Target="../media/image19.jpeg"/><Relationship Id="rId4" Type="http://schemas.openxmlformats.org/officeDocument/2006/relationships/image" Target="../media/image18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13.xml"/><Relationship Id="rId6" Type="http://schemas.openxmlformats.org/officeDocument/2006/relationships/image" Target="../media/image25.png"/><Relationship Id="rId5" Type="http://schemas.openxmlformats.org/officeDocument/2006/relationships/image" Target="../media/image24.png"/><Relationship Id="rId4" Type="http://schemas.openxmlformats.org/officeDocument/2006/relationships/image" Target="../media/image23.emf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14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eg"/><Relationship Id="rId2" Type="http://schemas.openxmlformats.org/officeDocument/2006/relationships/image" Target="../media/image27.jpeg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29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155A3E0D-4618-B0AF-3B9F-098754B417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7" name="Picture 6" descr="A blue and black gradient&#10;&#10;Description automatically generated">
            <a:extLst>
              <a:ext uri="{FF2B5EF4-FFF2-40B4-BE49-F238E27FC236}">
                <a16:creationId xmlns:a16="http://schemas.microsoft.com/office/drawing/2014/main" id="{28A0FD9C-F44A-78F4-17FF-9ABCAF9452D3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mc:AlternateContent xmlns:mc="http://schemas.openxmlformats.org/markup-compatibility/2006" xmlns:p14="http://schemas.microsoft.com/office/powerpoint/2010/main">
        <mc:Choice Requires="p14">
          <p:contentPart p14:bwMode="auto" r:id="rId3">
            <p14:nvContentPartPr>
              <p14:cNvPr id="8" name="Ink 7">
                <a:extLst>
                  <a:ext uri="{FF2B5EF4-FFF2-40B4-BE49-F238E27FC236}">
                    <a16:creationId xmlns:a16="http://schemas.microsoft.com/office/drawing/2014/main" id="{1ED3F473-5985-4D68-3687-762BB96ACBD1}"/>
                  </a:ext>
                </a:extLst>
              </p14:cNvPr>
              <p14:cNvContentPartPr/>
              <p14:nvPr/>
            </p14:nvContentPartPr>
            <p14:xfrm>
              <a:off x="-255960" y="1515154"/>
              <a:ext cx="360" cy="360"/>
            </p14:xfrm>
          </p:contentPart>
        </mc:Choice>
        <mc:Fallback xmlns="">
          <p:pic>
            <p:nvPicPr>
              <p:cNvPr id="8" name="Ink 7">
                <a:extLst>
                  <a:ext uri="{FF2B5EF4-FFF2-40B4-BE49-F238E27FC236}">
                    <a16:creationId xmlns:a16="http://schemas.microsoft.com/office/drawing/2014/main" id="{1ED3F473-5985-4D68-3687-762BB96ACBD1}"/>
                  </a:ext>
                </a:extLst>
              </p:cNvPr>
              <p:cNvPicPr/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-264960" y="1506154"/>
                <a:ext cx="18000" cy="18000"/>
              </a:xfrm>
              <a:prstGeom prst="rect">
                <a:avLst/>
              </a:prstGeom>
            </p:spPr>
          </p:pic>
        </mc:Fallback>
      </mc:AlternateContent>
      <p:sp>
        <p:nvSpPr>
          <p:cNvPr id="9" name="TextBox 8">
            <a:extLst>
              <a:ext uri="{FF2B5EF4-FFF2-40B4-BE49-F238E27FC236}">
                <a16:creationId xmlns:a16="http://schemas.microsoft.com/office/drawing/2014/main" id="{136521AC-99D9-18E7-7863-0F25AC3E01A1}"/>
              </a:ext>
            </a:extLst>
          </p:cNvPr>
          <p:cNvSpPr txBox="1"/>
          <p:nvPr/>
        </p:nvSpPr>
        <p:spPr>
          <a:xfrm>
            <a:off x="975686" y="1817394"/>
            <a:ext cx="7711114" cy="89255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l"/>
            <a:r>
              <a:rPr lang="en-US" sz="4000" dirty="0">
                <a:solidFill>
                  <a:schemeClr val="bg1"/>
                </a:solidFill>
              </a:rPr>
              <a:t>Compact </a:t>
            </a:r>
            <a:r>
              <a:rPr lang="en-DK" sz="4000">
                <a:solidFill>
                  <a:schemeClr val="bg1"/>
                </a:solidFill>
              </a:rPr>
              <a:t>Dry</a:t>
            </a:r>
            <a:r>
              <a:rPr lang="en-US" sz="4000" dirty="0">
                <a:solidFill>
                  <a:schemeClr val="bg1"/>
                </a:solidFill>
              </a:rPr>
              <a:t> Vacuums</a:t>
            </a:r>
          </a:p>
          <a:p>
            <a:pPr algn="l"/>
            <a:r>
              <a:rPr lang="en-DK" sz="1800" dirty="0">
                <a:solidFill>
                  <a:schemeClr val="accent3"/>
                </a:solidFill>
              </a:rPr>
              <a:t>Sales presentation</a:t>
            </a:r>
            <a:endParaRPr lang="en-US" sz="1800" dirty="0">
              <a:solidFill>
                <a:schemeClr val="accent3"/>
              </a:solidFill>
            </a:endParaRPr>
          </a:p>
        </p:txBody>
      </p:sp>
      <p:pic>
        <p:nvPicPr>
          <p:cNvPr id="10" name="Picture 9" descr="A black and white logo&#10;&#10;Description automatically generated">
            <a:extLst>
              <a:ext uri="{FF2B5EF4-FFF2-40B4-BE49-F238E27FC236}">
                <a16:creationId xmlns:a16="http://schemas.microsoft.com/office/drawing/2014/main" id="{A41C9539-8C3B-D049-E9A0-552C34E229CA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0195" y="398313"/>
            <a:ext cx="1606693" cy="546656"/>
          </a:xfrm>
          <a:prstGeom prst="rect">
            <a:avLst/>
          </a:prstGeom>
        </p:spPr>
      </p:pic>
      <p:pic>
        <p:nvPicPr>
          <p:cNvPr id="11" name="Picture 10" descr="A black and blue vacuum cleaner&#10;&#10;Description automatically generated">
            <a:extLst>
              <a:ext uri="{FF2B5EF4-FFF2-40B4-BE49-F238E27FC236}">
                <a16:creationId xmlns:a16="http://schemas.microsoft.com/office/drawing/2014/main" id="{CDF830B9-8855-3E1D-0D0C-1AC644EDCBEF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2365017" y="2552212"/>
            <a:ext cx="13235859" cy="4303988"/>
          </a:xfrm>
          <a:prstGeom prst="rect">
            <a:avLst/>
          </a:prstGeom>
        </p:spPr>
      </p:pic>
      <p:pic>
        <p:nvPicPr>
          <p:cNvPr id="12" name="Picture 11" descr="A black and blue vacuum cleaner&#10;&#10;Description automatically generated">
            <a:extLst>
              <a:ext uri="{FF2B5EF4-FFF2-40B4-BE49-F238E27FC236}">
                <a16:creationId xmlns:a16="http://schemas.microsoft.com/office/drawing/2014/main" id="{961FDD2B-0274-63A8-290A-33487781DB62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120044" y="2686757"/>
            <a:ext cx="12611951" cy="41712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62704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vacuum cleaner with a black background&#10;&#10;Description automatically generated">
            <a:extLst>
              <a:ext uri="{FF2B5EF4-FFF2-40B4-BE49-F238E27FC236}">
                <a16:creationId xmlns:a16="http://schemas.microsoft.com/office/drawing/2014/main" id="{132C4FF0-E6B0-CA16-DFD4-278C58FE53E0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87570" y="123027"/>
            <a:ext cx="4712818" cy="6858000"/>
          </a:xfrm>
          <a:prstGeom prst="rect">
            <a:avLst/>
          </a:prstGeom>
        </p:spPr>
      </p:pic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FB116E9-3ED2-7DA7-D625-619858D9A892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6EDB100-183E-B96C-EDD4-0EC6BD3E6703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10</a:t>
            </a:fld>
            <a:endParaRPr lang="en-U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B0C200C-BD2A-935D-6788-51C7FF3E0C8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DK"/>
              <a:t>VP300</a:t>
            </a:r>
            <a:endParaRPr lang="en-US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92DD5482-BCFF-8610-CBDA-B28D6EC0A6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494490"/>
            <a:ext cx="11233150" cy="388013"/>
          </a:xfrm>
        </p:spPr>
        <p:txBody>
          <a:bodyPr/>
          <a:lstStyle/>
          <a:p>
            <a:r>
              <a:rPr lang="en-DK"/>
              <a:t>Key features and design </a:t>
            </a:r>
            <a:endParaRPr lang="en-US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DE8933E2-0318-DB82-9AAC-5A4443DDFA2C}"/>
              </a:ext>
            </a:extLst>
          </p:cNvPr>
          <p:cNvSpPr txBox="1"/>
          <p:nvPr/>
        </p:nvSpPr>
        <p:spPr>
          <a:xfrm>
            <a:off x="8262622" y="2496691"/>
            <a:ext cx="3444903" cy="463451"/>
          </a:xfrm>
          <a:prstGeom prst="rect">
            <a:avLst/>
          </a:prstGeom>
          <a:noFill/>
        </p:spPr>
        <p:txBody>
          <a:bodyPr wrap="square" lIns="0" tIns="0" rIns="0" bIns="72000" rtlCol="0" anchor="b" anchorCtr="0">
            <a:spAutoFit/>
          </a:bodyPr>
          <a:lstStyle/>
          <a:p>
            <a:pPr algn="r">
              <a:lnSpc>
                <a:spcPct val="120000"/>
              </a:lnSpc>
            </a:pPr>
            <a:r>
              <a:rPr lang="en-DK" sz="1100">
                <a:latin typeface="+mj-lt"/>
              </a:rPr>
              <a:t>Ergonomic machine handle </a:t>
            </a:r>
          </a:p>
          <a:p>
            <a:pPr algn="r">
              <a:lnSpc>
                <a:spcPct val="120000"/>
              </a:lnSpc>
            </a:pPr>
            <a:r>
              <a:rPr lang="en-GB" sz="1100" b="0" i="0" u="none" strike="noStrike">
                <a:effectLst/>
              </a:rPr>
              <a:t>Kept possibility to tube storage during ”transport”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947466D7-96A8-858A-479C-869BB60AE383}"/>
              </a:ext>
            </a:extLst>
          </p:cNvPr>
          <p:cNvSpPr txBox="1"/>
          <p:nvPr/>
        </p:nvSpPr>
        <p:spPr>
          <a:xfrm>
            <a:off x="8944866" y="3910087"/>
            <a:ext cx="2762659" cy="463451"/>
          </a:xfrm>
          <a:prstGeom prst="rect">
            <a:avLst/>
          </a:prstGeom>
          <a:noFill/>
        </p:spPr>
        <p:txBody>
          <a:bodyPr wrap="square" lIns="0" tIns="0" rIns="0" bIns="72000" rtlCol="0" anchor="b" anchorCtr="0">
            <a:spAutoFit/>
          </a:bodyPr>
          <a:lstStyle/>
          <a:p>
            <a:pPr algn="r">
              <a:lnSpc>
                <a:spcPct val="120000"/>
              </a:lnSpc>
            </a:pPr>
            <a:r>
              <a:rPr lang="en-GB" sz="1100" b="1">
                <a:latin typeface="+mj-lt"/>
              </a:rPr>
              <a:t>Bag &amp; Prefilter access</a:t>
            </a:r>
            <a:endParaRPr lang="en-DK" sz="1100" b="1">
              <a:latin typeface="+mj-lt"/>
            </a:endParaRPr>
          </a:p>
          <a:p>
            <a:pPr algn="r">
              <a:lnSpc>
                <a:spcPct val="120000"/>
              </a:lnSpc>
            </a:pPr>
            <a:r>
              <a:rPr lang="en-GB" sz="1100" b="0" i="0" u="none" strike="noStrike">
                <a:effectLst/>
              </a:rPr>
              <a:t>Easy ergo access to bag &amp; prefilter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4E8C2262-24AD-A663-8D56-33D89D8E1847}"/>
              </a:ext>
            </a:extLst>
          </p:cNvPr>
          <p:cNvSpPr txBox="1"/>
          <p:nvPr/>
        </p:nvSpPr>
        <p:spPr>
          <a:xfrm>
            <a:off x="8509000" y="3252265"/>
            <a:ext cx="3198525" cy="454924"/>
          </a:xfrm>
          <a:prstGeom prst="rect">
            <a:avLst/>
          </a:prstGeom>
          <a:noFill/>
        </p:spPr>
        <p:txBody>
          <a:bodyPr wrap="square" lIns="0" tIns="0" rIns="0" bIns="72000" rtlCol="0" anchor="b" anchorCtr="0">
            <a:spAutoFit/>
          </a:bodyPr>
          <a:lstStyle/>
          <a:p>
            <a:pPr algn="r">
              <a:lnSpc>
                <a:spcPct val="120000"/>
              </a:lnSpc>
            </a:pPr>
            <a:r>
              <a:rPr lang="en-GB" sz="1100">
                <a:latin typeface="+mj-lt"/>
              </a:rPr>
              <a:t>Durable foot-operated</a:t>
            </a:r>
            <a:r>
              <a:rPr lang="en-DK" sz="1100">
                <a:latin typeface="+mj-lt"/>
              </a:rPr>
              <a:t> </a:t>
            </a:r>
            <a:r>
              <a:rPr lang="en-GB" sz="1100">
                <a:latin typeface="+mj-lt"/>
              </a:rPr>
              <a:t>power switch</a:t>
            </a:r>
            <a:br>
              <a:rPr lang="da-DK" sz="1100"/>
            </a:br>
            <a:r>
              <a:rPr lang="en-GB" sz="1050"/>
              <a:t>Easier and more ergonomic to use</a:t>
            </a:r>
            <a:endParaRPr lang="en-GB" sz="1100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CEC82846-FA63-9EB6-7F25-AE9BDC290124}"/>
              </a:ext>
            </a:extLst>
          </p:cNvPr>
          <p:cNvSpPr txBox="1"/>
          <p:nvPr/>
        </p:nvSpPr>
        <p:spPr>
          <a:xfrm>
            <a:off x="8675096" y="5698613"/>
            <a:ext cx="3032429" cy="463451"/>
          </a:xfrm>
          <a:prstGeom prst="rect">
            <a:avLst/>
          </a:prstGeom>
          <a:noFill/>
        </p:spPr>
        <p:txBody>
          <a:bodyPr wrap="square" lIns="0" tIns="0" rIns="0" bIns="72000" rtlCol="0" anchor="b" anchorCtr="0">
            <a:spAutoFit/>
          </a:bodyPr>
          <a:lstStyle/>
          <a:p>
            <a:pPr algn="r">
              <a:lnSpc>
                <a:spcPct val="120000"/>
              </a:lnSpc>
            </a:pPr>
            <a:r>
              <a:rPr lang="en-DK" sz="1100">
                <a:latin typeface="+mj-lt"/>
              </a:rPr>
              <a:t>Compact</a:t>
            </a:r>
            <a:r>
              <a:rPr lang="da-DK" sz="1100">
                <a:latin typeface="+mj-lt"/>
              </a:rPr>
              <a:t>,</a:t>
            </a:r>
            <a:r>
              <a:rPr lang="en-DK" sz="1100">
                <a:latin typeface="+mj-lt"/>
              </a:rPr>
              <a:t> </a:t>
            </a:r>
            <a:r>
              <a:rPr lang="da-DK" sz="1100">
                <a:latin typeface="+mj-lt"/>
              </a:rPr>
              <a:t>light-</a:t>
            </a:r>
            <a:r>
              <a:rPr lang="da-DK" sz="1100" err="1">
                <a:latin typeface="+mj-lt"/>
              </a:rPr>
              <a:t>weight</a:t>
            </a:r>
            <a:r>
              <a:rPr lang="da-DK" sz="1100">
                <a:latin typeface="+mj-lt"/>
              </a:rPr>
              <a:t> design</a:t>
            </a:r>
            <a:endParaRPr lang="en-DK" sz="1100">
              <a:latin typeface="+mj-lt"/>
            </a:endParaRPr>
          </a:p>
          <a:p>
            <a:pPr algn="r">
              <a:lnSpc>
                <a:spcPct val="120000"/>
              </a:lnSpc>
            </a:pPr>
            <a:r>
              <a:rPr lang="en-GB" sz="1100"/>
              <a:t>Easy to transport and reduces strain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4743C182-5EC6-0D9D-70EE-B99A668E562D}"/>
              </a:ext>
            </a:extLst>
          </p:cNvPr>
          <p:cNvSpPr txBox="1"/>
          <p:nvPr/>
        </p:nvSpPr>
        <p:spPr>
          <a:xfrm>
            <a:off x="479425" y="3047446"/>
            <a:ext cx="4373726" cy="602079"/>
          </a:xfrm>
          <a:prstGeom prst="rect">
            <a:avLst/>
          </a:prstGeom>
          <a:noFill/>
        </p:spPr>
        <p:txBody>
          <a:bodyPr wrap="square" lIns="0" tIns="0" rIns="0" bIns="72000" rtlCol="0" anchor="b" anchorCtr="0">
            <a:spAutoFit/>
          </a:bodyPr>
          <a:lstStyle/>
          <a:p>
            <a:pPr algn="l">
              <a:lnSpc>
                <a:spcPct val="120000"/>
              </a:lnSpc>
            </a:pPr>
            <a:r>
              <a:rPr lang="en-GB" sz="1100">
                <a:latin typeface="+mj-lt"/>
              </a:rPr>
              <a:t>Detachable power cord *</a:t>
            </a:r>
            <a:endParaRPr lang="en-DK" sz="1100">
              <a:latin typeface="+mj-lt"/>
            </a:endParaRPr>
          </a:p>
          <a:p>
            <a:pPr algn="l">
              <a:lnSpc>
                <a:spcPct val="120000"/>
              </a:lnSpc>
            </a:pPr>
            <a:r>
              <a:rPr lang="en-GB" sz="1100"/>
              <a:t>No-tool cord exchange with durable locking </a:t>
            </a:r>
            <a:r>
              <a:rPr lang="en-DK" sz="1100"/>
              <a:t>for</a:t>
            </a:r>
            <a:r>
              <a:rPr lang="en-GB" sz="1100"/>
              <a:t> time and cost saving</a:t>
            </a:r>
          </a:p>
          <a:p>
            <a:pPr marL="0" marR="0" lvl="0" indent="0" algn="l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1" u="none" strike="noStrike" kern="1200" cap="none" spc="0" normalizeH="0" baseline="0" noProof="0">
                <a:ln>
                  <a:noFill/>
                </a:ln>
                <a:solidFill>
                  <a:srgbClr val="8997A4"/>
                </a:solidFill>
                <a:effectLst/>
                <a:uLnTx/>
                <a:uFillTx/>
                <a:latin typeface="Roboto Light"/>
                <a:ea typeface="Roboto Light"/>
                <a:cs typeface="Roboto Light"/>
              </a:rPr>
              <a:t>* Most VP300’s, all VP400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522C62C3-4B14-7B59-75BF-35670D48BE51}"/>
              </a:ext>
            </a:extLst>
          </p:cNvPr>
          <p:cNvSpPr txBox="1"/>
          <p:nvPr/>
        </p:nvSpPr>
        <p:spPr>
          <a:xfrm>
            <a:off x="7691122" y="4619592"/>
            <a:ext cx="4016403" cy="666584"/>
          </a:xfrm>
          <a:prstGeom prst="rect">
            <a:avLst/>
          </a:prstGeom>
          <a:noFill/>
        </p:spPr>
        <p:txBody>
          <a:bodyPr wrap="square" lIns="0" tIns="0" rIns="0" bIns="72000" rtlCol="0" anchor="b" anchorCtr="0">
            <a:spAutoFit/>
          </a:bodyPr>
          <a:lstStyle/>
          <a:p>
            <a:pPr algn="r">
              <a:lnSpc>
                <a:spcPct val="120000"/>
              </a:lnSpc>
            </a:pPr>
            <a:r>
              <a:rPr lang="en-GB" sz="1100">
                <a:latin typeface="+mj-lt"/>
              </a:rPr>
              <a:t>Certified HEPA filter</a:t>
            </a:r>
            <a:endParaRPr lang="en-DK" sz="1100">
              <a:latin typeface="+mj-lt"/>
            </a:endParaRPr>
          </a:p>
          <a:p>
            <a:pPr algn="r">
              <a:lnSpc>
                <a:spcPct val="120000"/>
              </a:lnSpc>
            </a:pPr>
            <a:r>
              <a:rPr lang="en-DK" sz="1100"/>
              <a:t>Q</a:t>
            </a:r>
            <a:r>
              <a:rPr lang="en-GB" sz="1100" err="1"/>
              <a:t>uick</a:t>
            </a:r>
            <a:r>
              <a:rPr lang="en-GB" sz="1100"/>
              <a:t>, tool-free</a:t>
            </a:r>
            <a:r>
              <a:rPr lang="en-DK" sz="1100"/>
              <a:t> </a:t>
            </a:r>
            <a:r>
              <a:rPr lang="en-GB" sz="1100"/>
              <a:t>checks and</a:t>
            </a:r>
            <a:r>
              <a:rPr lang="en-DK" sz="1100"/>
              <a:t> </a:t>
            </a:r>
            <a:r>
              <a:rPr lang="en-GB" sz="1100"/>
              <a:t>replacements,</a:t>
            </a:r>
            <a:endParaRPr lang="en-DK" sz="1100"/>
          </a:p>
          <a:p>
            <a:pPr algn="r">
              <a:lnSpc>
                <a:spcPct val="120000"/>
              </a:lnSpc>
            </a:pPr>
            <a:r>
              <a:rPr lang="en-DK" sz="1100"/>
              <a:t> </a:t>
            </a:r>
            <a:r>
              <a:rPr lang="en-GB" sz="1100"/>
              <a:t>ensuring optimal air quality</a:t>
            </a:r>
            <a:r>
              <a:rPr lang="en-DK" sz="1100"/>
              <a:t> </a:t>
            </a:r>
            <a:r>
              <a:rPr lang="en-GB" sz="1100"/>
              <a:t>while saving time</a:t>
            </a:r>
          </a:p>
        </p:txBody>
      </p:sp>
      <p:cxnSp>
        <p:nvCxnSpPr>
          <p:cNvPr id="29" name="Straight Arrow Connector 88">
            <a:extLst>
              <a:ext uri="{FF2B5EF4-FFF2-40B4-BE49-F238E27FC236}">
                <a16:creationId xmlns:a16="http://schemas.microsoft.com/office/drawing/2014/main" id="{6B5C0D09-B626-93A4-6E26-B5DE54627371}"/>
              </a:ext>
            </a:extLst>
          </p:cNvPr>
          <p:cNvCxnSpPr>
            <a:cxnSpLocks/>
          </p:cNvCxnSpPr>
          <p:nvPr/>
        </p:nvCxnSpPr>
        <p:spPr>
          <a:xfrm flipH="1">
            <a:off x="7363835" y="3693359"/>
            <a:ext cx="4323368" cy="0"/>
          </a:xfrm>
          <a:prstGeom prst="straightConnector1">
            <a:avLst/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Arrow Connector 88">
            <a:extLst>
              <a:ext uri="{FF2B5EF4-FFF2-40B4-BE49-F238E27FC236}">
                <a16:creationId xmlns:a16="http://schemas.microsoft.com/office/drawing/2014/main" id="{43CD60BD-8FC8-2ECD-FD41-11AD6BAE3979}"/>
              </a:ext>
            </a:extLst>
          </p:cNvPr>
          <p:cNvCxnSpPr>
            <a:cxnSpLocks/>
          </p:cNvCxnSpPr>
          <p:nvPr/>
        </p:nvCxnSpPr>
        <p:spPr>
          <a:xfrm flipH="1">
            <a:off x="7861808" y="6141247"/>
            <a:ext cx="3845717" cy="0"/>
          </a:xfrm>
          <a:prstGeom prst="straightConnector1">
            <a:avLst/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" name="Straight Arrow Connector 88">
            <a:extLst>
              <a:ext uri="{FF2B5EF4-FFF2-40B4-BE49-F238E27FC236}">
                <a16:creationId xmlns:a16="http://schemas.microsoft.com/office/drawing/2014/main" id="{4D2BA372-BFC2-C7E7-5E87-CC7F987B9CAF}"/>
              </a:ext>
            </a:extLst>
          </p:cNvPr>
          <p:cNvCxnSpPr>
            <a:cxnSpLocks/>
          </p:cNvCxnSpPr>
          <p:nvPr/>
        </p:nvCxnSpPr>
        <p:spPr>
          <a:xfrm flipH="1">
            <a:off x="6678701" y="2960142"/>
            <a:ext cx="5028824" cy="0"/>
          </a:xfrm>
          <a:prstGeom prst="straightConnector1">
            <a:avLst/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Box 30">
            <a:extLst>
              <a:ext uri="{FF2B5EF4-FFF2-40B4-BE49-F238E27FC236}">
                <a16:creationId xmlns:a16="http://schemas.microsoft.com/office/drawing/2014/main" id="{E7FFC910-BF2B-0F0E-6A3E-58FAB43B5AAA}"/>
              </a:ext>
            </a:extLst>
          </p:cNvPr>
          <p:cNvSpPr txBox="1"/>
          <p:nvPr/>
        </p:nvSpPr>
        <p:spPr>
          <a:xfrm>
            <a:off x="479425" y="3881251"/>
            <a:ext cx="3239941" cy="463451"/>
          </a:xfrm>
          <a:prstGeom prst="rect">
            <a:avLst/>
          </a:prstGeom>
          <a:noFill/>
        </p:spPr>
        <p:txBody>
          <a:bodyPr wrap="square" lIns="0" tIns="0" rIns="0" bIns="72000" rtlCol="0" anchor="b" anchorCtr="0">
            <a:spAutoFit/>
          </a:bodyPr>
          <a:lstStyle/>
          <a:p>
            <a:pPr algn="l">
              <a:lnSpc>
                <a:spcPct val="120000"/>
              </a:lnSpc>
            </a:pPr>
            <a:r>
              <a:rPr lang="en-GB" sz="1100">
                <a:latin typeface="+mj-lt"/>
              </a:rPr>
              <a:t>Tube parking</a:t>
            </a:r>
            <a:endParaRPr lang="en-DK" sz="1100">
              <a:latin typeface="+mj-lt"/>
            </a:endParaRPr>
          </a:p>
          <a:p>
            <a:pPr algn="l">
              <a:lnSpc>
                <a:spcPct val="120000"/>
              </a:lnSpc>
            </a:pPr>
            <a:r>
              <a:rPr lang="en-GB" sz="1100"/>
              <a:t>Fast and easy tube</a:t>
            </a:r>
            <a:r>
              <a:rPr lang="en-DK" sz="1100"/>
              <a:t> </a:t>
            </a:r>
            <a:r>
              <a:rPr lang="en-GB" sz="1100"/>
              <a:t>parking when needed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36235D9D-D5A7-0D74-80B7-828FD9277614}"/>
              </a:ext>
            </a:extLst>
          </p:cNvPr>
          <p:cNvSpPr txBox="1"/>
          <p:nvPr/>
        </p:nvSpPr>
        <p:spPr>
          <a:xfrm>
            <a:off x="479425" y="4619592"/>
            <a:ext cx="3239941" cy="666584"/>
          </a:xfrm>
          <a:prstGeom prst="rect">
            <a:avLst/>
          </a:prstGeom>
          <a:noFill/>
        </p:spPr>
        <p:txBody>
          <a:bodyPr wrap="square" lIns="0" tIns="0" rIns="0" bIns="72000" rtlCol="0" anchor="b" anchorCtr="0">
            <a:spAutoFit/>
          </a:bodyPr>
          <a:lstStyle/>
          <a:p>
            <a:pPr algn="l">
              <a:lnSpc>
                <a:spcPct val="120000"/>
              </a:lnSpc>
            </a:pPr>
            <a:r>
              <a:rPr lang="en-GB" sz="1100">
                <a:latin typeface="+mj-lt"/>
              </a:rPr>
              <a:t>High performance dust bags</a:t>
            </a:r>
            <a:endParaRPr lang="en-DK" sz="1100">
              <a:latin typeface="+mj-lt"/>
            </a:endParaRPr>
          </a:p>
          <a:p>
            <a:pPr algn="l">
              <a:lnSpc>
                <a:spcPct val="120000"/>
              </a:lnSpc>
            </a:pPr>
            <a:r>
              <a:rPr lang="en-GB" sz="1100"/>
              <a:t>High net filling capacity prolonging working time</a:t>
            </a:r>
          </a:p>
          <a:p>
            <a:pPr algn="l">
              <a:lnSpc>
                <a:spcPct val="120000"/>
              </a:lnSpc>
            </a:pPr>
            <a:r>
              <a:rPr lang="en-GB" sz="1100"/>
              <a:t>and keeping performance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388643C6-96A2-4263-FD3E-7CE1CA7CB332}"/>
              </a:ext>
            </a:extLst>
          </p:cNvPr>
          <p:cNvSpPr txBox="1"/>
          <p:nvPr/>
        </p:nvSpPr>
        <p:spPr>
          <a:xfrm>
            <a:off x="479425" y="5513241"/>
            <a:ext cx="6079688" cy="648823"/>
          </a:xfrm>
          <a:prstGeom prst="rect">
            <a:avLst/>
          </a:prstGeom>
          <a:noFill/>
        </p:spPr>
        <p:txBody>
          <a:bodyPr wrap="square" lIns="0" tIns="0" rIns="0" bIns="72000" rtlCol="0" anchor="b" anchorCtr="0">
            <a:spAutoFit/>
          </a:bodyPr>
          <a:lstStyle/>
          <a:p>
            <a:pPr>
              <a:lnSpc>
                <a:spcPct val="120000"/>
              </a:lnSpc>
            </a:pPr>
            <a:r>
              <a:rPr lang="en-GB" sz="1100">
                <a:latin typeface="+mj-lt"/>
              </a:rPr>
              <a:t>L</a:t>
            </a:r>
            <a:r>
              <a:rPr lang="en-DK" sz="1100">
                <a:latin typeface="+mj-lt"/>
              </a:rPr>
              <a:t>ow noi</a:t>
            </a:r>
            <a:r>
              <a:rPr lang="da-DK" sz="1100">
                <a:latin typeface="+mj-lt"/>
              </a:rPr>
              <a:t>se</a:t>
            </a:r>
            <a:r>
              <a:rPr lang="en-DK" sz="1100">
                <a:latin typeface="+mj-lt"/>
              </a:rPr>
              <a:t> level</a:t>
            </a:r>
            <a:br>
              <a:rPr lang="da-DK" sz="1100"/>
            </a:br>
            <a:r>
              <a:rPr lang="en-GB" sz="1050"/>
              <a:t>Powerful cleaning with one of</a:t>
            </a:r>
            <a:r>
              <a:rPr lang="en-DK" sz="1050"/>
              <a:t> </a:t>
            </a:r>
            <a:r>
              <a:rPr lang="en-GB" sz="1050"/>
              <a:t>the quietest vacuum cleaners</a:t>
            </a:r>
          </a:p>
          <a:p>
            <a:pPr>
              <a:lnSpc>
                <a:spcPct val="120000"/>
              </a:lnSpc>
            </a:pPr>
            <a:r>
              <a:rPr lang="en-GB" sz="1050"/>
              <a:t>in its class, allowing you to</a:t>
            </a:r>
            <a:r>
              <a:rPr lang="en-DK" sz="1050"/>
              <a:t> </a:t>
            </a:r>
            <a:r>
              <a:rPr lang="en-GB" sz="1050"/>
              <a:t>operate without disturbing others</a:t>
            </a:r>
            <a:endParaRPr lang="en-GB" sz="1100"/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FC1B942F-C2C2-7F8B-7962-64F5FD5ED80E}"/>
              </a:ext>
            </a:extLst>
          </p:cNvPr>
          <p:cNvSpPr txBox="1"/>
          <p:nvPr/>
        </p:nvSpPr>
        <p:spPr>
          <a:xfrm>
            <a:off x="7235428" y="1599985"/>
            <a:ext cx="4472097" cy="463451"/>
          </a:xfrm>
          <a:prstGeom prst="rect">
            <a:avLst/>
          </a:prstGeom>
          <a:noFill/>
        </p:spPr>
        <p:txBody>
          <a:bodyPr wrap="square" lIns="0" tIns="0" rIns="0" bIns="72000" rtlCol="0" anchor="b" anchorCtr="0">
            <a:spAutoFit/>
          </a:bodyPr>
          <a:lstStyle/>
          <a:p>
            <a:pPr algn="r">
              <a:lnSpc>
                <a:spcPct val="120000"/>
              </a:lnSpc>
            </a:pPr>
            <a:r>
              <a:rPr lang="da-DK" sz="1100">
                <a:latin typeface="+mj-lt"/>
              </a:rPr>
              <a:t>C</a:t>
            </a:r>
            <a:r>
              <a:rPr lang="en-DK" sz="1100" err="1">
                <a:latin typeface="+mj-lt"/>
              </a:rPr>
              <a:t>ord</a:t>
            </a:r>
            <a:r>
              <a:rPr lang="en-DK" sz="1100">
                <a:latin typeface="+mj-lt"/>
              </a:rPr>
              <a:t> storage</a:t>
            </a:r>
            <a:r>
              <a:rPr lang="da-DK" sz="1100">
                <a:latin typeface="+mj-lt"/>
              </a:rPr>
              <a:t> – 3 options</a:t>
            </a:r>
            <a:endParaRPr lang="en-DK" sz="1100">
              <a:latin typeface="+mj-lt"/>
            </a:endParaRPr>
          </a:p>
          <a:p>
            <a:pPr algn="r">
              <a:lnSpc>
                <a:spcPct val="120000"/>
              </a:lnSpc>
            </a:pPr>
            <a:r>
              <a:rPr lang="en-GB" sz="1100" b="0" i="0" u="none" strike="noStrike">
                <a:effectLst/>
              </a:rPr>
              <a:t>New smart EOB cord storage</a:t>
            </a:r>
            <a:r>
              <a:rPr lang="en-DK" sz="1100" b="0" i="0" u="none" strike="noStrike">
                <a:effectLst/>
              </a:rPr>
              <a:t> </a:t>
            </a:r>
            <a:r>
              <a:rPr lang="en-GB" sz="1100" b="0" i="0" u="none" strike="noStrike">
                <a:effectLst/>
              </a:rPr>
              <a:t>ensuring uptime by no mess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93F26CA3-6EC8-80BC-8A33-59CBB195045F}"/>
              </a:ext>
            </a:extLst>
          </p:cNvPr>
          <p:cNvSpPr txBox="1"/>
          <p:nvPr/>
        </p:nvSpPr>
        <p:spPr>
          <a:xfrm>
            <a:off x="479425" y="1554091"/>
            <a:ext cx="2696381" cy="463451"/>
          </a:xfrm>
          <a:prstGeom prst="rect">
            <a:avLst/>
          </a:prstGeom>
          <a:noFill/>
        </p:spPr>
        <p:txBody>
          <a:bodyPr wrap="square" lIns="0" tIns="0" rIns="0" bIns="72000" rtlCol="0" anchor="b" anchorCtr="0">
            <a:spAutoFit/>
          </a:bodyPr>
          <a:lstStyle/>
          <a:p>
            <a:pPr algn="l">
              <a:lnSpc>
                <a:spcPct val="120000"/>
              </a:lnSpc>
            </a:pPr>
            <a:r>
              <a:rPr lang="en-GB" sz="1100">
                <a:latin typeface="+mj-lt"/>
              </a:rPr>
              <a:t>New designed Bent-ends </a:t>
            </a:r>
            <a:br>
              <a:rPr lang="en-GB" sz="1100" b="0" i="0" u="none" strike="noStrike">
                <a:effectLst/>
              </a:rPr>
            </a:br>
            <a:r>
              <a:rPr lang="en-GB" sz="1100" b="0" i="0" u="none" strike="noStrike">
                <a:effectLst/>
              </a:rPr>
              <a:t>Improved ergonomics, grip &amp; durability </a:t>
            </a:r>
            <a:endParaRPr lang="en-GB" sz="1100"/>
          </a:p>
        </p:txBody>
      </p:sp>
      <p:cxnSp>
        <p:nvCxnSpPr>
          <p:cNvPr id="74" name="Straight Connector 73">
            <a:extLst>
              <a:ext uri="{FF2B5EF4-FFF2-40B4-BE49-F238E27FC236}">
                <a16:creationId xmlns:a16="http://schemas.microsoft.com/office/drawing/2014/main" id="{EE660A90-F962-5152-9B87-82E80927D63A}"/>
              </a:ext>
            </a:extLst>
          </p:cNvPr>
          <p:cNvCxnSpPr>
            <a:cxnSpLocks/>
          </p:cNvCxnSpPr>
          <p:nvPr/>
        </p:nvCxnSpPr>
        <p:spPr>
          <a:xfrm>
            <a:off x="6480705" y="2040353"/>
            <a:ext cx="5226820" cy="43902"/>
          </a:xfrm>
          <a:prstGeom prst="line">
            <a:avLst/>
          </a:prstGeom>
          <a:ln w="9525">
            <a:solidFill>
              <a:srgbClr val="38AFD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Straight Arrow Connector 76">
            <a:extLst>
              <a:ext uri="{FF2B5EF4-FFF2-40B4-BE49-F238E27FC236}">
                <a16:creationId xmlns:a16="http://schemas.microsoft.com/office/drawing/2014/main" id="{120B6260-DC8E-FD7C-0A8B-115F0D3316B3}"/>
              </a:ext>
            </a:extLst>
          </p:cNvPr>
          <p:cNvCxnSpPr>
            <a:cxnSpLocks/>
          </p:cNvCxnSpPr>
          <p:nvPr/>
        </p:nvCxnSpPr>
        <p:spPr>
          <a:xfrm flipH="1">
            <a:off x="6480705" y="2055684"/>
            <a:ext cx="7353" cy="834245"/>
          </a:xfrm>
          <a:prstGeom prst="straightConnector1">
            <a:avLst/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Straight Arrow Connector 88">
            <a:extLst>
              <a:ext uri="{FF2B5EF4-FFF2-40B4-BE49-F238E27FC236}">
                <a16:creationId xmlns:a16="http://schemas.microsoft.com/office/drawing/2014/main" id="{9208A795-773E-5EE8-5941-23F93DCDC447}"/>
              </a:ext>
            </a:extLst>
          </p:cNvPr>
          <p:cNvCxnSpPr>
            <a:cxnSpLocks/>
          </p:cNvCxnSpPr>
          <p:nvPr/>
        </p:nvCxnSpPr>
        <p:spPr>
          <a:xfrm flipH="1">
            <a:off x="7454205" y="4344702"/>
            <a:ext cx="4253320" cy="17484"/>
          </a:xfrm>
          <a:prstGeom prst="straightConnector1">
            <a:avLst/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Straight Arrow Connector 88">
            <a:extLst>
              <a:ext uri="{FF2B5EF4-FFF2-40B4-BE49-F238E27FC236}">
                <a16:creationId xmlns:a16="http://schemas.microsoft.com/office/drawing/2014/main" id="{F44C1FDD-8B92-7735-8CA0-3CB585A6E316}"/>
              </a:ext>
            </a:extLst>
          </p:cNvPr>
          <p:cNvCxnSpPr>
            <a:cxnSpLocks/>
          </p:cNvCxnSpPr>
          <p:nvPr/>
        </p:nvCxnSpPr>
        <p:spPr>
          <a:xfrm flipH="1">
            <a:off x="7454205" y="5286176"/>
            <a:ext cx="4253320" cy="0"/>
          </a:xfrm>
          <a:prstGeom prst="straightConnector1">
            <a:avLst/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6902FA20-5846-2CA4-2EB4-6F9B5E6C1F6D}"/>
              </a:ext>
            </a:extLst>
          </p:cNvPr>
          <p:cNvCxnSpPr>
            <a:cxnSpLocks/>
          </p:cNvCxnSpPr>
          <p:nvPr/>
        </p:nvCxnSpPr>
        <p:spPr>
          <a:xfrm>
            <a:off x="475521" y="3658678"/>
            <a:ext cx="4718779" cy="0"/>
          </a:xfrm>
          <a:prstGeom prst="straightConnector1">
            <a:avLst/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0C79D62F-07AC-B97C-B000-E532EF08FB5B}"/>
              </a:ext>
            </a:extLst>
          </p:cNvPr>
          <p:cNvCxnSpPr>
            <a:cxnSpLocks/>
          </p:cNvCxnSpPr>
          <p:nvPr/>
        </p:nvCxnSpPr>
        <p:spPr>
          <a:xfrm>
            <a:off x="475521" y="4344702"/>
            <a:ext cx="4604479" cy="0"/>
          </a:xfrm>
          <a:prstGeom prst="straightConnector1">
            <a:avLst/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68997FFC-1F39-A4EB-9712-75EE4B492C62}"/>
              </a:ext>
            </a:extLst>
          </p:cNvPr>
          <p:cNvCxnSpPr>
            <a:cxnSpLocks/>
          </p:cNvCxnSpPr>
          <p:nvPr/>
        </p:nvCxnSpPr>
        <p:spPr>
          <a:xfrm>
            <a:off x="475521" y="5286176"/>
            <a:ext cx="5328265" cy="0"/>
          </a:xfrm>
          <a:prstGeom prst="straightConnector1">
            <a:avLst/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38">
            <a:extLst>
              <a:ext uri="{FF2B5EF4-FFF2-40B4-BE49-F238E27FC236}">
                <a16:creationId xmlns:a16="http://schemas.microsoft.com/office/drawing/2014/main" id="{78469F3F-C5B8-A4A5-FDC3-C815809AF496}"/>
              </a:ext>
            </a:extLst>
          </p:cNvPr>
          <p:cNvCxnSpPr>
            <a:cxnSpLocks/>
          </p:cNvCxnSpPr>
          <p:nvPr/>
        </p:nvCxnSpPr>
        <p:spPr>
          <a:xfrm flipV="1">
            <a:off x="483515" y="1040986"/>
            <a:ext cx="5320271" cy="976574"/>
          </a:xfrm>
          <a:prstGeom prst="bentConnector3">
            <a:avLst>
              <a:gd name="adj1" fmla="val 86566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CB8048E3-2194-CCFB-A3B2-34C8C7375473}"/>
              </a:ext>
            </a:extLst>
          </p:cNvPr>
          <p:cNvCxnSpPr>
            <a:cxnSpLocks/>
          </p:cNvCxnSpPr>
          <p:nvPr/>
        </p:nvCxnSpPr>
        <p:spPr>
          <a:xfrm>
            <a:off x="475521" y="6162064"/>
            <a:ext cx="5150579" cy="0"/>
          </a:xfrm>
          <a:prstGeom prst="straightConnector1">
            <a:avLst/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26">
            <a:extLst>
              <a:ext uri="{FF2B5EF4-FFF2-40B4-BE49-F238E27FC236}">
                <a16:creationId xmlns:a16="http://schemas.microsoft.com/office/drawing/2014/main" id="{FE8FB46D-6011-8C22-4D7B-5390FF2ADF3C}"/>
              </a:ext>
            </a:extLst>
          </p:cNvPr>
          <p:cNvSpPr txBox="1"/>
          <p:nvPr/>
        </p:nvSpPr>
        <p:spPr>
          <a:xfrm>
            <a:off x="479425" y="2281436"/>
            <a:ext cx="4097543" cy="463451"/>
          </a:xfrm>
          <a:prstGeom prst="rect">
            <a:avLst/>
          </a:prstGeom>
          <a:noFill/>
        </p:spPr>
        <p:txBody>
          <a:bodyPr wrap="square" lIns="0" tIns="0" rIns="0" bIns="72000" rtlCol="0" anchor="b" anchorCtr="0">
            <a:spAutoFit/>
          </a:bodyPr>
          <a:lstStyle/>
          <a:p>
            <a:pPr algn="l">
              <a:lnSpc>
                <a:spcPct val="120000"/>
              </a:lnSpc>
            </a:pPr>
            <a:r>
              <a:rPr lang="en-GB" sz="1100">
                <a:latin typeface="+mj-lt"/>
              </a:rPr>
              <a:t>Cord quick-release </a:t>
            </a:r>
            <a:br>
              <a:rPr lang="en-GB" sz="1100" b="0" i="0" u="none" strike="noStrike">
                <a:effectLst/>
              </a:rPr>
            </a:br>
            <a:r>
              <a:rPr lang="en-GB" sz="1100" b="0" i="0" u="none" strike="noStrike">
                <a:effectLst/>
              </a:rPr>
              <a:t>Cord quick-release (turn knob) immediate start of working</a:t>
            </a:r>
          </a:p>
        </p:txBody>
      </p:sp>
      <p:cxnSp>
        <p:nvCxnSpPr>
          <p:cNvPr id="28" name="Straight Arrow Connector 27">
            <a:extLst>
              <a:ext uri="{FF2B5EF4-FFF2-40B4-BE49-F238E27FC236}">
                <a16:creationId xmlns:a16="http://schemas.microsoft.com/office/drawing/2014/main" id="{C6C4BC7C-E6E6-9DF6-317D-4D2C1E470AD8}"/>
              </a:ext>
            </a:extLst>
          </p:cNvPr>
          <p:cNvCxnSpPr>
            <a:cxnSpLocks/>
          </p:cNvCxnSpPr>
          <p:nvPr/>
        </p:nvCxnSpPr>
        <p:spPr>
          <a:xfrm>
            <a:off x="475521" y="2746659"/>
            <a:ext cx="5337144" cy="0"/>
          </a:xfrm>
          <a:prstGeom prst="straightConnector1">
            <a:avLst/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96868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vacuum cleaner with a black handle&#10;&#10;Description automatically generated">
            <a:extLst>
              <a:ext uri="{FF2B5EF4-FFF2-40B4-BE49-F238E27FC236}">
                <a16:creationId xmlns:a16="http://schemas.microsoft.com/office/drawing/2014/main" id="{691802B8-A4AE-7E6F-E37E-9C3C8726833D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86725" y="122857"/>
            <a:ext cx="4554245" cy="6850550"/>
          </a:xfrm>
          <a:prstGeom prst="rect">
            <a:avLst/>
          </a:prstGeom>
        </p:spPr>
      </p:pic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FB116E9-3ED2-7DA7-D625-619858D9A892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6EDB100-183E-B96C-EDD4-0EC6BD3E6703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11</a:t>
            </a:fld>
            <a:endParaRPr lang="en-U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B0C200C-BD2A-935D-6788-51C7FF3E0C8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DK"/>
              <a:t>VP400</a:t>
            </a:r>
            <a:endParaRPr lang="en-US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92DD5482-BCFF-8610-CBDA-B28D6EC0A6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494490"/>
            <a:ext cx="11233150" cy="388013"/>
          </a:xfrm>
        </p:spPr>
        <p:txBody>
          <a:bodyPr/>
          <a:lstStyle/>
          <a:p>
            <a:r>
              <a:rPr lang="en-DK"/>
              <a:t>Key features and design </a:t>
            </a:r>
            <a:endParaRPr lang="en-US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DE8933E2-0318-DB82-9AAC-5A4443DDFA2C}"/>
              </a:ext>
            </a:extLst>
          </p:cNvPr>
          <p:cNvSpPr txBox="1"/>
          <p:nvPr/>
        </p:nvSpPr>
        <p:spPr>
          <a:xfrm>
            <a:off x="8184829" y="2293558"/>
            <a:ext cx="3523574" cy="666584"/>
          </a:xfrm>
          <a:prstGeom prst="rect">
            <a:avLst/>
          </a:prstGeom>
          <a:noFill/>
        </p:spPr>
        <p:txBody>
          <a:bodyPr wrap="square" lIns="0" tIns="0" rIns="0" bIns="72000" rtlCol="0" anchor="b" anchorCtr="0">
            <a:spAutoFit/>
          </a:bodyPr>
          <a:lstStyle/>
          <a:p>
            <a:pPr algn="r">
              <a:lnSpc>
                <a:spcPct val="120000"/>
              </a:lnSpc>
            </a:pPr>
            <a:r>
              <a:rPr lang="en-DK" sz="1100">
                <a:latin typeface="+mj-lt"/>
              </a:rPr>
              <a:t>Ergonomic machine handle </a:t>
            </a:r>
          </a:p>
          <a:p>
            <a:pPr algn="r">
              <a:lnSpc>
                <a:spcPct val="120000"/>
              </a:lnSpc>
            </a:pPr>
            <a:r>
              <a:rPr lang="en-GB" sz="1100" b="0" i="0" u="none" strike="noStrike">
                <a:effectLst/>
              </a:rPr>
              <a:t>Ergonomic handle designed for comfort, accommodating smaller hands as well.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2D28D166-F3E6-6716-3AFC-EB4B417F260C}"/>
              </a:ext>
            </a:extLst>
          </p:cNvPr>
          <p:cNvSpPr txBox="1"/>
          <p:nvPr/>
        </p:nvSpPr>
        <p:spPr>
          <a:xfrm>
            <a:off x="479425" y="2281436"/>
            <a:ext cx="4097543" cy="463451"/>
          </a:xfrm>
          <a:prstGeom prst="rect">
            <a:avLst/>
          </a:prstGeom>
          <a:noFill/>
        </p:spPr>
        <p:txBody>
          <a:bodyPr wrap="square" lIns="0" tIns="0" rIns="0" bIns="72000" rtlCol="0" anchor="b" anchorCtr="0">
            <a:spAutoFit/>
          </a:bodyPr>
          <a:lstStyle/>
          <a:p>
            <a:pPr algn="l">
              <a:lnSpc>
                <a:spcPct val="120000"/>
              </a:lnSpc>
            </a:pPr>
            <a:r>
              <a:rPr lang="en-GB" sz="1100">
                <a:latin typeface="+mj-lt"/>
              </a:rPr>
              <a:t>Reliable cord rewind</a:t>
            </a:r>
            <a:br>
              <a:rPr lang="en-GB" sz="1100" b="0" i="0" u="none" strike="noStrike">
                <a:effectLst/>
              </a:rPr>
            </a:br>
            <a:r>
              <a:rPr lang="en-GB" sz="1100" b="0" i="0" u="none" strike="noStrike">
                <a:effectLst/>
              </a:rPr>
              <a:t>Durable and smooth rewind system eliminates cord issues</a:t>
            </a:r>
            <a:endParaRPr lang="en-GB" sz="1100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947466D7-96A8-858A-479C-869BB60AE383}"/>
              </a:ext>
            </a:extLst>
          </p:cNvPr>
          <p:cNvSpPr txBox="1"/>
          <p:nvPr/>
        </p:nvSpPr>
        <p:spPr>
          <a:xfrm>
            <a:off x="8940324" y="3887887"/>
            <a:ext cx="2762659" cy="463451"/>
          </a:xfrm>
          <a:prstGeom prst="rect">
            <a:avLst/>
          </a:prstGeom>
          <a:noFill/>
        </p:spPr>
        <p:txBody>
          <a:bodyPr wrap="square" lIns="0" tIns="0" rIns="0" bIns="72000" rtlCol="0" anchor="b" anchorCtr="0">
            <a:spAutoFit/>
          </a:bodyPr>
          <a:lstStyle/>
          <a:p>
            <a:pPr algn="r">
              <a:lnSpc>
                <a:spcPct val="120000"/>
              </a:lnSpc>
            </a:pPr>
            <a:r>
              <a:rPr lang="en-GB" sz="1100" b="1">
                <a:latin typeface="+mj-lt"/>
              </a:rPr>
              <a:t>Bag &amp; Prefilter access</a:t>
            </a:r>
            <a:endParaRPr lang="en-DK" sz="1100" b="1">
              <a:latin typeface="+mj-lt"/>
            </a:endParaRPr>
          </a:p>
          <a:p>
            <a:pPr algn="r">
              <a:lnSpc>
                <a:spcPct val="120000"/>
              </a:lnSpc>
            </a:pPr>
            <a:r>
              <a:rPr lang="en-GB" sz="1100" b="0" i="0" u="none" strike="noStrike">
                <a:effectLst/>
              </a:rPr>
              <a:t>Easy ergo access to bag &amp; prefilter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4E8C2262-24AD-A663-8D56-33D89D8E1847}"/>
              </a:ext>
            </a:extLst>
          </p:cNvPr>
          <p:cNvSpPr txBox="1"/>
          <p:nvPr/>
        </p:nvSpPr>
        <p:spPr>
          <a:xfrm>
            <a:off x="8509000" y="3253941"/>
            <a:ext cx="3198525" cy="454924"/>
          </a:xfrm>
          <a:prstGeom prst="rect">
            <a:avLst/>
          </a:prstGeom>
          <a:noFill/>
        </p:spPr>
        <p:txBody>
          <a:bodyPr wrap="square" lIns="0" tIns="0" rIns="0" bIns="72000" rtlCol="0" anchor="b" anchorCtr="0">
            <a:spAutoFit/>
          </a:bodyPr>
          <a:lstStyle/>
          <a:p>
            <a:pPr algn="r">
              <a:lnSpc>
                <a:spcPct val="120000"/>
              </a:lnSpc>
            </a:pPr>
            <a:r>
              <a:rPr lang="en-GB" sz="1100">
                <a:latin typeface="+mj-lt"/>
              </a:rPr>
              <a:t>Durable foot-operated</a:t>
            </a:r>
            <a:r>
              <a:rPr lang="en-DK" sz="1100">
                <a:latin typeface="+mj-lt"/>
              </a:rPr>
              <a:t> </a:t>
            </a:r>
            <a:r>
              <a:rPr lang="en-GB" sz="1100">
                <a:latin typeface="+mj-lt"/>
              </a:rPr>
              <a:t>powers witch</a:t>
            </a:r>
            <a:br>
              <a:rPr lang="da-DK" sz="1100"/>
            </a:br>
            <a:r>
              <a:rPr lang="en-GB" sz="1050"/>
              <a:t>Easier and more ergonomic to use</a:t>
            </a:r>
            <a:endParaRPr lang="en-GB" sz="1100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CEC82846-FA63-9EB6-7F25-AE9BDC290124}"/>
              </a:ext>
            </a:extLst>
          </p:cNvPr>
          <p:cNvSpPr txBox="1"/>
          <p:nvPr/>
        </p:nvSpPr>
        <p:spPr>
          <a:xfrm>
            <a:off x="8819468" y="5688204"/>
            <a:ext cx="2867735" cy="463451"/>
          </a:xfrm>
          <a:prstGeom prst="rect">
            <a:avLst/>
          </a:prstGeom>
          <a:noFill/>
        </p:spPr>
        <p:txBody>
          <a:bodyPr wrap="square" lIns="0" tIns="0" rIns="0" bIns="72000" rtlCol="0" anchor="b" anchorCtr="0">
            <a:spAutoFit/>
          </a:bodyPr>
          <a:lstStyle/>
          <a:p>
            <a:pPr algn="r">
              <a:lnSpc>
                <a:spcPct val="120000"/>
              </a:lnSpc>
            </a:pPr>
            <a:r>
              <a:rPr lang="en-DK" sz="1100">
                <a:latin typeface="+mj-lt"/>
              </a:rPr>
              <a:t>Compact</a:t>
            </a:r>
            <a:r>
              <a:rPr lang="da-DK" sz="1100">
                <a:latin typeface="+mj-lt"/>
              </a:rPr>
              <a:t>,</a:t>
            </a:r>
            <a:r>
              <a:rPr lang="en-DK" sz="1100">
                <a:latin typeface="+mj-lt"/>
              </a:rPr>
              <a:t> </a:t>
            </a:r>
            <a:r>
              <a:rPr lang="da-DK" sz="1100">
                <a:latin typeface="+mj-lt"/>
              </a:rPr>
              <a:t>light-</a:t>
            </a:r>
            <a:r>
              <a:rPr lang="da-DK" sz="1100" err="1">
                <a:latin typeface="+mj-lt"/>
              </a:rPr>
              <a:t>weight</a:t>
            </a:r>
            <a:r>
              <a:rPr lang="da-DK" sz="1100">
                <a:latin typeface="+mj-lt"/>
              </a:rPr>
              <a:t> design</a:t>
            </a:r>
            <a:endParaRPr lang="en-DK" sz="1100">
              <a:latin typeface="+mj-lt"/>
            </a:endParaRPr>
          </a:p>
          <a:p>
            <a:pPr algn="r">
              <a:lnSpc>
                <a:spcPct val="120000"/>
              </a:lnSpc>
            </a:pPr>
            <a:r>
              <a:rPr lang="en-GB" sz="1100"/>
              <a:t>Easy to transport and reduces strain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4743C182-5EC6-0D9D-70EE-B99A668E562D}"/>
              </a:ext>
            </a:extLst>
          </p:cNvPr>
          <p:cNvSpPr txBox="1"/>
          <p:nvPr/>
        </p:nvSpPr>
        <p:spPr>
          <a:xfrm>
            <a:off x="479425" y="3047446"/>
            <a:ext cx="4145156" cy="602079"/>
          </a:xfrm>
          <a:prstGeom prst="rect">
            <a:avLst/>
          </a:prstGeom>
          <a:noFill/>
        </p:spPr>
        <p:txBody>
          <a:bodyPr wrap="square" lIns="0" tIns="0" rIns="0" bIns="72000" rtlCol="0" anchor="b" anchorCtr="0">
            <a:spAutoFit/>
          </a:bodyPr>
          <a:lstStyle/>
          <a:p>
            <a:pPr algn="l">
              <a:lnSpc>
                <a:spcPct val="120000"/>
              </a:lnSpc>
            </a:pPr>
            <a:r>
              <a:rPr lang="en-GB" sz="1100">
                <a:latin typeface="+mj-lt"/>
              </a:rPr>
              <a:t>Detachable power cord *</a:t>
            </a:r>
            <a:endParaRPr lang="en-DK" sz="1100">
              <a:latin typeface="+mj-lt"/>
            </a:endParaRPr>
          </a:p>
          <a:p>
            <a:pPr algn="l">
              <a:lnSpc>
                <a:spcPct val="120000"/>
              </a:lnSpc>
            </a:pPr>
            <a:r>
              <a:rPr lang="en-GB" sz="1100"/>
              <a:t>No-tool cord exchange with durable locking </a:t>
            </a:r>
            <a:r>
              <a:rPr lang="en-DK" sz="1100"/>
              <a:t>for</a:t>
            </a:r>
            <a:r>
              <a:rPr lang="en-GB" sz="1100"/>
              <a:t> time and cost saving</a:t>
            </a:r>
          </a:p>
          <a:p>
            <a:pPr marL="0" marR="0" lvl="0" indent="0" algn="l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1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Roboto Light"/>
                <a:ea typeface="Roboto Light"/>
                <a:cs typeface="Roboto Light"/>
              </a:rPr>
              <a:t>* Most VP300’s, all VP400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522C62C3-4B14-7B59-75BF-35670D48BE51}"/>
              </a:ext>
            </a:extLst>
          </p:cNvPr>
          <p:cNvSpPr txBox="1"/>
          <p:nvPr/>
        </p:nvSpPr>
        <p:spPr>
          <a:xfrm>
            <a:off x="7670800" y="4619592"/>
            <a:ext cx="4016403" cy="666584"/>
          </a:xfrm>
          <a:prstGeom prst="rect">
            <a:avLst/>
          </a:prstGeom>
          <a:noFill/>
        </p:spPr>
        <p:txBody>
          <a:bodyPr wrap="square" lIns="0" tIns="0" rIns="0" bIns="72000" rtlCol="0" anchor="b" anchorCtr="0">
            <a:spAutoFit/>
          </a:bodyPr>
          <a:lstStyle/>
          <a:p>
            <a:pPr algn="r">
              <a:lnSpc>
                <a:spcPct val="120000"/>
              </a:lnSpc>
            </a:pPr>
            <a:r>
              <a:rPr lang="en-GB" sz="1100">
                <a:latin typeface="+mj-lt"/>
              </a:rPr>
              <a:t>Certified HEPA filter</a:t>
            </a:r>
            <a:endParaRPr lang="en-DK" sz="1100">
              <a:latin typeface="+mj-lt"/>
            </a:endParaRPr>
          </a:p>
          <a:p>
            <a:pPr algn="r">
              <a:lnSpc>
                <a:spcPct val="120000"/>
              </a:lnSpc>
            </a:pPr>
            <a:r>
              <a:rPr lang="en-GB" sz="1100"/>
              <a:t>Quick, tool-free</a:t>
            </a:r>
            <a:r>
              <a:rPr lang="en-DK" sz="1100"/>
              <a:t> </a:t>
            </a:r>
            <a:r>
              <a:rPr lang="en-GB" sz="1100"/>
              <a:t>checks and</a:t>
            </a:r>
            <a:r>
              <a:rPr lang="en-DK" sz="1100"/>
              <a:t> </a:t>
            </a:r>
            <a:r>
              <a:rPr lang="en-GB" sz="1100"/>
              <a:t>replacements,</a:t>
            </a:r>
            <a:endParaRPr lang="en-DK" sz="1100"/>
          </a:p>
          <a:p>
            <a:pPr algn="r">
              <a:lnSpc>
                <a:spcPct val="120000"/>
              </a:lnSpc>
            </a:pPr>
            <a:r>
              <a:rPr lang="en-DK" sz="1100"/>
              <a:t> </a:t>
            </a:r>
            <a:r>
              <a:rPr lang="en-GB" sz="1100"/>
              <a:t>ensuring optimal air quality</a:t>
            </a:r>
            <a:r>
              <a:rPr lang="en-DK" sz="1100"/>
              <a:t> </a:t>
            </a:r>
            <a:r>
              <a:rPr lang="en-GB" sz="1100"/>
              <a:t>while saving time</a:t>
            </a:r>
          </a:p>
        </p:txBody>
      </p:sp>
      <p:cxnSp>
        <p:nvCxnSpPr>
          <p:cNvPr id="29" name="Straight Arrow Connector 88">
            <a:extLst>
              <a:ext uri="{FF2B5EF4-FFF2-40B4-BE49-F238E27FC236}">
                <a16:creationId xmlns:a16="http://schemas.microsoft.com/office/drawing/2014/main" id="{6B5C0D09-B626-93A4-6E26-B5DE54627371}"/>
              </a:ext>
            </a:extLst>
          </p:cNvPr>
          <p:cNvCxnSpPr>
            <a:cxnSpLocks/>
          </p:cNvCxnSpPr>
          <p:nvPr/>
        </p:nvCxnSpPr>
        <p:spPr>
          <a:xfrm flipH="1">
            <a:off x="7363835" y="3693359"/>
            <a:ext cx="4323368" cy="0"/>
          </a:xfrm>
          <a:prstGeom prst="straightConnector1">
            <a:avLst/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Arrow Connector 34">
            <a:extLst>
              <a:ext uri="{FF2B5EF4-FFF2-40B4-BE49-F238E27FC236}">
                <a16:creationId xmlns:a16="http://schemas.microsoft.com/office/drawing/2014/main" id="{6E06D935-B42D-9B87-5543-66AC89EF42CD}"/>
              </a:ext>
            </a:extLst>
          </p:cNvPr>
          <p:cNvCxnSpPr>
            <a:cxnSpLocks/>
          </p:cNvCxnSpPr>
          <p:nvPr/>
        </p:nvCxnSpPr>
        <p:spPr>
          <a:xfrm>
            <a:off x="475521" y="3658678"/>
            <a:ext cx="4718779" cy="0"/>
          </a:xfrm>
          <a:prstGeom prst="straightConnector1">
            <a:avLst/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Arrow Connector 88">
            <a:extLst>
              <a:ext uri="{FF2B5EF4-FFF2-40B4-BE49-F238E27FC236}">
                <a16:creationId xmlns:a16="http://schemas.microsoft.com/office/drawing/2014/main" id="{43CD60BD-8FC8-2ECD-FD41-11AD6BAE3979}"/>
              </a:ext>
            </a:extLst>
          </p:cNvPr>
          <p:cNvCxnSpPr>
            <a:cxnSpLocks/>
          </p:cNvCxnSpPr>
          <p:nvPr/>
        </p:nvCxnSpPr>
        <p:spPr>
          <a:xfrm flipH="1" flipV="1">
            <a:off x="7861808" y="6141247"/>
            <a:ext cx="3825395" cy="20817"/>
          </a:xfrm>
          <a:prstGeom prst="straightConnector1">
            <a:avLst/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" name="Straight Arrow Connector 88">
            <a:extLst>
              <a:ext uri="{FF2B5EF4-FFF2-40B4-BE49-F238E27FC236}">
                <a16:creationId xmlns:a16="http://schemas.microsoft.com/office/drawing/2014/main" id="{4D2BA372-BFC2-C7E7-5E87-CC7F987B9CAF}"/>
              </a:ext>
            </a:extLst>
          </p:cNvPr>
          <p:cNvCxnSpPr>
            <a:cxnSpLocks/>
          </p:cNvCxnSpPr>
          <p:nvPr/>
        </p:nvCxnSpPr>
        <p:spPr>
          <a:xfrm flipH="1">
            <a:off x="6678701" y="2960142"/>
            <a:ext cx="5008502" cy="0"/>
          </a:xfrm>
          <a:prstGeom prst="straightConnector1">
            <a:avLst/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A6A82238-4C01-2704-5EF6-6F44B45F437F}"/>
              </a:ext>
            </a:extLst>
          </p:cNvPr>
          <p:cNvCxnSpPr>
            <a:cxnSpLocks/>
          </p:cNvCxnSpPr>
          <p:nvPr/>
        </p:nvCxnSpPr>
        <p:spPr>
          <a:xfrm>
            <a:off x="475521" y="2746659"/>
            <a:ext cx="5337144" cy="0"/>
          </a:xfrm>
          <a:prstGeom prst="straightConnector1">
            <a:avLst/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Box 30">
            <a:extLst>
              <a:ext uri="{FF2B5EF4-FFF2-40B4-BE49-F238E27FC236}">
                <a16:creationId xmlns:a16="http://schemas.microsoft.com/office/drawing/2014/main" id="{E7FFC910-BF2B-0F0E-6A3E-58FAB43B5AAA}"/>
              </a:ext>
            </a:extLst>
          </p:cNvPr>
          <p:cNvSpPr txBox="1"/>
          <p:nvPr/>
        </p:nvSpPr>
        <p:spPr>
          <a:xfrm>
            <a:off x="479425" y="3881251"/>
            <a:ext cx="3239941" cy="463451"/>
          </a:xfrm>
          <a:prstGeom prst="rect">
            <a:avLst/>
          </a:prstGeom>
          <a:noFill/>
        </p:spPr>
        <p:txBody>
          <a:bodyPr wrap="square" lIns="0" tIns="0" rIns="0" bIns="72000" rtlCol="0" anchor="b" anchorCtr="0">
            <a:spAutoFit/>
          </a:bodyPr>
          <a:lstStyle/>
          <a:p>
            <a:pPr algn="l">
              <a:lnSpc>
                <a:spcPct val="120000"/>
              </a:lnSpc>
            </a:pPr>
            <a:r>
              <a:rPr lang="en-GB" sz="1100">
                <a:latin typeface="+mj-lt"/>
              </a:rPr>
              <a:t>Tube parking</a:t>
            </a:r>
            <a:endParaRPr lang="en-DK" sz="1100">
              <a:latin typeface="+mj-lt"/>
            </a:endParaRPr>
          </a:p>
          <a:p>
            <a:pPr algn="l">
              <a:lnSpc>
                <a:spcPct val="120000"/>
              </a:lnSpc>
            </a:pPr>
            <a:r>
              <a:rPr lang="en-GB" sz="1100"/>
              <a:t>Fast and easy tube</a:t>
            </a:r>
            <a:r>
              <a:rPr lang="en-DK" sz="1100"/>
              <a:t> </a:t>
            </a:r>
            <a:r>
              <a:rPr lang="en-GB" sz="1100"/>
              <a:t>parking when needed</a:t>
            </a:r>
          </a:p>
        </p:txBody>
      </p:sp>
      <p:cxnSp>
        <p:nvCxnSpPr>
          <p:cNvPr id="32" name="Straight Arrow Connector 31">
            <a:extLst>
              <a:ext uri="{FF2B5EF4-FFF2-40B4-BE49-F238E27FC236}">
                <a16:creationId xmlns:a16="http://schemas.microsoft.com/office/drawing/2014/main" id="{1812A04A-58CA-6A16-F673-2E76FFFBEB5F}"/>
              </a:ext>
            </a:extLst>
          </p:cNvPr>
          <p:cNvCxnSpPr>
            <a:cxnSpLocks/>
          </p:cNvCxnSpPr>
          <p:nvPr/>
        </p:nvCxnSpPr>
        <p:spPr>
          <a:xfrm>
            <a:off x="475521" y="4344702"/>
            <a:ext cx="4604479" cy="0"/>
          </a:xfrm>
          <a:prstGeom prst="straightConnector1">
            <a:avLst/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Box 32">
            <a:extLst>
              <a:ext uri="{FF2B5EF4-FFF2-40B4-BE49-F238E27FC236}">
                <a16:creationId xmlns:a16="http://schemas.microsoft.com/office/drawing/2014/main" id="{36235D9D-D5A7-0D74-80B7-828FD9277614}"/>
              </a:ext>
            </a:extLst>
          </p:cNvPr>
          <p:cNvSpPr txBox="1"/>
          <p:nvPr/>
        </p:nvSpPr>
        <p:spPr>
          <a:xfrm>
            <a:off x="479425" y="4619592"/>
            <a:ext cx="3239941" cy="666584"/>
          </a:xfrm>
          <a:prstGeom prst="rect">
            <a:avLst/>
          </a:prstGeom>
          <a:noFill/>
        </p:spPr>
        <p:txBody>
          <a:bodyPr wrap="square" lIns="0" tIns="0" rIns="0" bIns="72000" rtlCol="0" anchor="b" anchorCtr="0">
            <a:spAutoFit/>
          </a:bodyPr>
          <a:lstStyle/>
          <a:p>
            <a:pPr algn="l">
              <a:lnSpc>
                <a:spcPct val="120000"/>
              </a:lnSpc>
            </a:pPr>
            <a:r>
              <a:rPr lang="en-GB" sz="1100">
                <a:latin typeface="+mj-lt"/>
              </a:rPr>
              <a:t>High performance dust bags</a:t>
            </a:r>
            <a:endParaRPr lang="en-DK" sz="1100">
              <a:latin typeface="+mj-lt"/>
            </a:endParaRPr>
          </a:p>
          <a:p>
            <a:pPr algn="l">
              <a:lnSpc>
                <a:spcPct val="120000"/>
              </a:lnSpc>
            </a:pPr>
            <a:r>
              <a:rPr lang="en-GB" sz="1100"/>
              <a:t>High net filling capacity prolonging working time</a:t>
            </a:r>
          </a:p>
          <a:p>
            <a:pPr algn="l">
              <a:lnSpc>
                <a:spcPct val="120000"/>
              </a:lnSpc>
            </a:pPr>
            <a:r>
              <a:rPr lang="en-GB" sz="1100"/>
              <a:t>and keeping performance</a:t>
            </a:r>
          </a:p>
        </p:txBody>
      </p:sp>
      <p:cxnSp>
        <p:nvCxnSpPr>
          <p:cNvPr id="34" name="Straight Arrow Connector 33">
            <a:extLst>
              <a:ext uri="{FF2B5EF4-FFF2-40B4-BE49-F238E27FC236}">
                <a16:creationId xmlns:a16="http://schemas.microsoft.com/office/drawing/2014/main" id="{DE1F0E5A-C5F1-4633-44B9-2DD494F2B184}"/>
              </a:ext>
            </a:extLst>
          </p:cNvPr>
          <p:cNvCxnSpPr>
            <a:cxnSpLocks/>
          </p:cNvCxnSpPr>
          <p:nvPr/>
        </p:nvCxnSpPr>
        <p:spPr>
          <a:xfrm>
            <a:off x="475521" y="5286176"/>
            <a:ext cx="5328265" cy="0"/>
          </a:xfrm>
          <a:prstGeom prst="straightConnector1">
            <a:avLst/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TextBox 37">
            <a:extLst>
              <a:ext uri="{FF2B5EF4-FFF2-40B4-BE49-F238E27FC236}">
                <a16:creationId xmlns:a16="http://schemas.microsoft.com/office/drawing/2014/main" id="{388643C6-96A2-4263-FD3E-7CE1CA7CB332}"/>
              </a:ext>
            </a:extLst>
          </p:cNvPr>
          <p:cNvSpPr txBox="1"/>
          <p:nvPr/>
        </p:nvSpPr>
        <p:spPr>
          <a:xfrm>
            <a:off x="479425" y="5513241"/>
            <a:ext cx="6079688" cy="648823"/>
          </a:xfrm>
          <a:prstGeom prst="rect">
            <a:avLst/>
          </a:prstGeom>
          <a:noFill/>
        </p:spPr>
        <p:txBody>
          <a:bodyPr wrap="square" lIns="0" tIns="0" rIns="0" bIns="72000" rtlCol="0" anchor="b" anchorCtr="0">
            <a:spAutoFit/>
          </a:bodyPr>
          <a:lstStyle/>
          <a:p>
            <a:pPr>
              <a:lnSpc>
                <a:spcPct val="120000"/>
              </a:lnSpc>
            </a:pPr>
            <a:r>
              <a:rPr lang="en-GB" sz="1100">
                <a:latin typeface="+mj-lt"/>
              </a:rPr>
              <a:t>L</a:t>
            </a:r>
            <a:r>
              <a:rPr lang="en-DK" sz="1100">
                <a:latin typeface="+mj-lt"/>
              </a:rPr>
              <a:t>ow noi</a:t>
            </a:r>
            <a:r>
              <a:rPr lang="da-DK" sz="1100">
                <a:latin typeface="+mj-lt"/>
              </a:rPr>
              <a:t>s</a:t>
            </a:r>
            <a:r>
              <a:rPr lang="en-DK" sz="1100">
                <a:latin typeface="+mj-lt"/>
              </a:rPr>
              <a:t>e level</a:t>
            </a:r>
            <a:br>
              <a:rPr lang="da-DK" sz="1100"/>
            </a:br>
            <a:r>
              <a:rPr lang="en-GB" sz="1050"/>
              <a:t>Powerful cleaning with one of</a:t>
            </a:r>
            <a:r>
              <a:rPr lang="en-DK" sz="1050"/>
              <a:t> </a:t>
            </a:r>
            <a:r>
              <a:rPr lang="en-GB" sz="1050"/>
              <a:t>the quietest vacuum cleaners</a:t>
            </a:r>
          </a:p>
          <a:p>
            <a:pPr>
              <a:lnSpc>
                <a:spcPct val="120000"/>
              </a:lnSpc>
            </a:pPr>
            <a:r>
              <a:rPr lang="en-GB" sz="1050"/>
              <a:t>in its class, allowing you to</a:t>
            </a:r>
            <a:r>
              <a:rPr lang="en-DK" sz="1050"/>
              <a:t> </a:t>
            </a:r>
            <a:r>
              <a:rPr lang="en-GB" sz="1050"/>
              <a:t>operate without disturbing others</a:t>
            </a:r>
            <a:endParaRPr lang="en-GB" sz="1100"/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93F26CA3-6EC8-80BC-8A33-59CBB195045F}"/>
              </a:ext>
            </a:extLst>
          </p:cNvPr>
          <p:cNvSpPr txBox="1"/>
          <p:nvPr/>
        </p:nvSpPr>
        <p:spPr>
          <a:xfrm>
            <a:off x="479425" y="1554091"/>
            <a:ext cx="2696381" cy="463451"/>
          </a:xfrm>
          <a:prstGeom prst="rect">
            <a:avLst/>
          </a:prstGeom>
          <a:noFill/>
        </p:spPr>
        <p:txBody>
          <a:bodyPr wrap="square" lIns="0" tIns="0" rIns="0" bIns="72000" rtlCol="0" anchor="b" anchorCtr="0">
            <a:spAutoFit/>
          </a:bodyPr>
          <a:lstStyle/>
          <a:p>
            <a:pPr algn="l">
              <a:lnSpc>
                <a:spcPct val="120000"/>
              </a:lnSpc>
            </a:pPr>
            <a:r>
              <a:rPr lang="en-GB" sz="1100">
                <a:latin typeface="+mj-lt"/>
              </a:rPr>
              <a:t>New designed Bent-ends </a:t>
            </a:r>
            <a:br>
              <a:rPr lang="en-GB" sz="1100" b="0" i="0" u="none" strike="noStrike">
                <a:effectLst/>
              </a:rPr>
            </a:br>
            <a:r>
              <a:rPr lang="en-GB" sz="1100" b="0" i="0" u="none" strike="noStrike">
                <a:effectLst/>
              </a:rPr>
              <a:t>Improved ergonomics, grip &amp; durability </a:t>
            </a:r>
            <a:endParaRPr lang="en-GB" sz="1100"/>
          </a:p>
        </p:txBody>
      </p:sp>
      <p:cxnSp>
        <p:nvCxnSpPr>
          <p:cNvPr id="44" name="Straight Arrow Connector 38">
            <a:extLst>
              <a:ext uri="{FF2B5EF4-FFF2-40B4-BE49-F238E27FC236}">
                <a16:creationId xmlns:a16="http://schemas.microsoft.com/office/drawing/2014/main" id="{42D1DDA0-5215-6892-2F86-63D926F63C63}"/>
              </a:ext>
            </a:extLst>
          </p:cNvPr>
          <p:cNvCxnSpPr>
            <a:cxnSpLocks/>
          </p:cNvCxnSpPr>
          <p:nvPr/>
        </p:nvCxnSpPr>
        <p:spPr>
          <a:xfrm flipV="1">
            <a:off x="483515" y="1040986"/>
            <a:ext cx="5320271" cy="976574"/>
          </a:xfrm>
          <a:prstGeom prst="bentConnector3">
            <a:avLst>
              <a:gd name="adj1" fmla="val 86566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Straight Arrow Connector 88">
            <a:extLst>
              <a:ext uri="{FF2B5EF4-FFF2-40B4-BE49-F238E27FC236}">
                <a16:creationId xmlns:a16="http://schemas.microsoft.com/office/drawing/2014/main" id="{9208A795-773E-5EE8-5941-23F93DCDC447}"/>
              </a:ext>
            </a:extLst>
          </p:cNvPr>
          <p:cNvCxnSpPr>
            <a:cxnSpLocks/>
          </p:cNvCxnSpPr>
          <p:nvPr/>
        </p:nvCxnSpPr>
        <p:spPr>
          <a:xfrm flipH="1">
            <a:off x="7454205" y="4344702"/>
            <a:ext cx="4256418" cy="17484"/>
          </a:xfrm>
          <a:prstGeom prst="straightConnector1">
            <a:avLst/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Straight Arrow Connector 84">
            <a:extLst>
              <a:ext uri="{FF2B5EF4-FFF2-40B4-BE49-F238E27FC236}">
                <a16:creationId xmlns:a16="http://schemas.microsoft.com/office/drawing/2014/main" id="{496FCF13-41BB-1DA6-1CD4-26B116F247D6}"/>
              </a:ext>
            </a:extLst>
          </p:cNvPr>
          <p:cNvCxnSpPr>
            <a:cxnSpLocks/>
          </p:cNvCxnSpPr>
          <p:nvPr/>
        </p:nvCxnSpPr>
        <p:spPr>
          <a:xfrm>
            <a:off x="475521" y="6162064"/>
            <a:ext cx="5150579" cy="0"/>
          </a:xfrm>
          <a:prstGeom prst="straightConnector1">
            <a:avLst/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Straight Arrow Connector 88">
            <a:extLst>
              <a:ext uri="{FF2B5EF4-FFF2-40B4-BE49-F238E27FC236}">
                <a16:creationId xmlns:a16="http://schemas.microsoft.com/office/drawing/2014/main" id="{F44C1FDD-8B92-7735-8CA0-3CB585A6E316}"/>
              </a:ext>
            </a:extLst>
          </p:cNvPr>
          <p:cNvCxnSpPr>
            <a:cxnSpLocks/>
          </p:cNvCxnSpPr>
          <p:nvPr/>
        </p:nvCxnSpPr>
        <p:spPr>
          <a:xfrm flipH="1">
            <a:off x="7454205" y="5286176"/>
            <a:ext cx="4232998" cy="0"/>
          </a:xfrm>
          <a:prstGeom prst="straightConnector1">
            <a:avLst/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893985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0DF9B68-2FE9-4118-7535-BE470A9C3C1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200774" y="0"/>
            <a:ext cx="5991225" cy="6283325"/>
          </a:xfrm>
          <a:solidFill>
            <a:schemeClr val="bg2">
              <a:lumMod val="20000"/>
              <a:lumOff val="80000"/>
            </a:schemeClr>
          </a:solidFill>
        </p:spPr>
        <p:txBody>
          <a:bodyPr/>
          <a:lstStyle/>
          <a:p>
            <a:pPr marL="0" indent="0">
              <a:buNone/>
            </a:pPr>
            <a:r>
              <a:rPr lang="en-US"/>
              <a:t> </a:t>
            </a:r>
          </a:p>
        </p:txBody>
      </p:sp>
      <p:graphicFrame>
        <p:nvGraphicFramePr>
          <p:cNvPr id="20" name="Object 19" hidden="1">
            <a:extLst>
              <a:ext uri="{FF2B5EF4-FFF2-40B4-BE49-F238E27FC236}">
                <a16:creationId xmlns:a16="http://schemas.microsoft.com/office/drawing/2014/main" id="{3AD606C3-27D7-F4E5-5351-A55DD3BA06F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0" name="Object 19" hidden="1">
                        <a:extLst>
                          <a:ext uri="{FF2B5EF4-FFF2-40B4-BE49-F238E27FC236}">
                            <a16:creationId xmlns:a16="http://schemas.microsoft.com/office/drawing/2014/main" id="{3AD606C3-27D7-F4E5-5351-A55DD3BA06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2" name="Picture 21" descr="A black and orange vacuum cleaner&#10;&#10;Description automatically generated">
            <a:extLst>
              <a:ext uri="{FF2B5EF4-FFF2-40B4-BE49-F238E27FC236}">
                <a16:creationId xmlns:a16="http://schemas.microsoft.com/office/drawing/2014/main" id="{19D1F199-E270-B2E9-5CC7-9941E25AF7F8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12798" y="1629720"/>
            <a:ext cx="3290250" cy="3362722"/>
          </a:xfrm>
          <a:prstGeom prst="rect">
            <a:avLst/>
          </a:prstGeom>
        </p:spPr>
      </p:pic>
      <p:sp>
        <p:nvSpPr>
          <p:cNvPr id="10" name="Chart Placeholder 9">
            <a:extLst>
              <a:ext uri="{FF2B5EF4-FFF2-40B4-BE49-F238E27FC236}">
                <a16:creationId xmlns:a16="http://schemas.microsoft.com/office/drawing/2014/main" id="{3A956474-9621-6B7B-1478-89FE2AA2875A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473569" y="1412875"/>
            <a:ext cx="5541558" cy="4870449"/>
          </a:xfrm>
        </p:spPr>
        <p:txBody>
          <a:bodyPr/>
          <a:lstStyle/>
          <a:p>
            <a:pPr marL="144000" marR="0" lvl="0" indent="-144000" algn="l" defTabSz="1023967" rtl="0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en-GB" sz="1000" i="0" u="none" strike="noStrike" kern="1200" cap="none" spc="0" normalizeH="0" baseline="0" noProof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+mj-lt"/>
                <a:ea typeface="Roboto Light"/>
                <a:cs typeface="Roboto Light"/>
              </a:rPr>
              <a:t>Improved serviceability</a:t>
            </a:r>
          </a:p>
          <a:p>
            <a:pPr>
              <a:spcBef>
                <a:spcPts val="0"/>
              </a:spcBef>
              <a:defRPr/>
            </a:pP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Roboto Light"/>
                <a:cs typeface="Roboto Light"/>
              </a:rPr>
              <a:t>Filter; easy access/no tools</a:t>
            </a:r>
          </a:p>
          <a:p>
            <a:pPr>
              <a:spcBef>
                <a:spcPts val="0"/>
              </a:spcBef>
              <a:defRPr/>
            </a:pP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Roboto Light"/>
                <a:cs typeface="Roboto Light"/>
              </a:rPr>
              <a:t>Detachable cord on majority of range*</a:t>
            </a:r>
          </a:p>
          <a:p>
            <a:pPr marL="144000" indent="-144000">
              <a:spcBef>
                <a:spcPts val="0"/>
              </a:spcBef>
            </a:pPr>
            <a:endParaRPr lang="en-US" sz="1000"/>
          </a:p>
          <a:p>
            <a:pPr marL="144000" indent="-144000">
              <a:spcBef>
                <a:spcPts val="0"/>
              </a:spcBef>
              <a:buNone/>
              <a:defRPr/>
            </a:pPr>
            <a:r>
              <a:rPr lang="en-GB" sz="1000">
                <a:solidFill>
                  <a:srgbClr val="28313F"/>
                </a:solidFill>
                <a:latin typeface="+mj-lt"/>
                <a:ea typeface="Roboto Light"/>
              </a:rPr>
              <a:t>Performance/Efficiency/Durability</a:t>
            </a:r>
            <a:endParaRPr lang="en-DK" sz="1000">
              <a:solidFill>
                <a:srgbClr val="28313F"/>
              </a:solidFill>
              <a:latin typeface="+mj-lt"/>
              <a:ea typeface="Roboto Light"/>
            </a:endParaRPr>
          </a:p>
          <a:p>
            <a:pPr>
              <a:spcBef>
                <a:spcPts val="0"/>
              </a:spcBef>
              <a:defRPr/>
            </a:pPr>
            <a:r>
              <a:rPr kumimoji="0" lang="da-DK" sz="1000" b="0" i="0" u="none" strike="noStrike" kern="1200" cap="none" spc="0" normalizeH="0" baseline="0" noProof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Roboto Light"/>
                <a:cs typeface="+mn-lt"/>
              </a:rPr>
              <a:t>Improved </a:t>
            </a:r>
            <a:r>
              <a:rPr kumimoji="0" lang="da-DK" sz="1000" b="0" i="0" u="none" strike="noStrike" kern="1200" cap="none" spc="0" normalizeH="0" baseline="0" noProof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Roboto Light"/>
                <a:ea typeface="Roboto Light"/>
                <a:cs typeface="+mn-lt"/>
              </a:rPr>
              <a:t>performance +10%, </a:t>
            </a:r>
            <a:r>
              <a:rPr kumimoji="0" lang="da-DK" sz="10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Roboto Light"/>
                <a:ea typeface="Roboto Light"/>
                <a:cs typeface="+mn-lt"/>
              </a:rPr>
              <a:t>whilst also </a:t>
            </a:r>
            <a:r>
              <a:rPr kumimoji="0" lang="da-DK" sz="1000" b="0" i="0" u="none" strike="noStrike" kern="1200" cap="none" spc="0" normalizeH="0" baseline="0" noProof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Roboto Light"/>
                <a:ea typeface="Roboto Light"/>
                <a:cs typeface="+mn-lt"/>
              </a:rPr>
              <a:t>reducing energy consumption by -12,5%</a:t>
            </a:r>
          </a:p>
          <a:p>
            <a:pPr>
              <a:spcBef>
                <a:spcPts val="0"/>
              </a:spcBef>
              <a:defRPr/>
            </a:pP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Roboto Light"/>
                <a:cs typeface="+mn-lt"/>
              </a:rPr>
              <a:t>Best in class sound level — Reduced 3-4dB</a:t>
            </a:r>
            <a:endParaRPr kumimoji="0" lang="en-GB" sz="1000" b="0" i="1" u="none" strike="noStrike" kern="1200" cap="none" spc="0" normalizeH="0" baseline="0" noProof="0">
              <a:ln>
                <a:noFill/>
              </a:ln>
              <a:solidFill>
                <a:srgbClr val="28313F"/>
              </a:solidFill>
              <a:effectLst/>
              <a:uLnTx/>
              <a:uFillTx/>
              <a:latin typeface="Roboto Light"/>
              <a:ea typeface="Roboto Light"/>
              <a:cs typeface="+mn-lt"/>
            </a:endParaRPr>
          </a:p>
          <a:p>
            <a:pPr>
              <a:spcBef>
                <a:spcPts val="0"/>
              </a:spcBef>
              <a:defRPr/>
            </a:pP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Roboto Light"/>
                <a:cs typeface="+mn-lt"/>
              </a:rPr>
              <a:t>New rewind tested to outlive VAC life**</a:t>
            </a:r>
          </a:p>
          <a:p>
            <a:pPr marL="144000" indent="-144000">
              <a:spcBef>
                <a:spcPts val="0"/>
              </a:spcBef>
            </a:pPr>
            <a:endParaRPr lang="en-US" sz="1000"/>
          </a:p>
          <a:p>
            <a:pPr marL="144000" marR="0" lvl="0" indent="-144000" fontAlgn="auto">
              <a:spcBef>
                <a:spcPts val="0"/>
              </a:spcBef>
              <a:buClrTx/>
              <a:buSzTx/>
              <a:buNone/>
              <a:tabLst/>
              <a:defRPr/>
            </a:pPr>
            <a:r>
              <a:rPr lang="en-GB" sz="1000">
                <a:solidFill>
                  <a:srgbClr val="28313F"/>
                </a:solidFill>
                <a:latin typeface="+mj-lt"/>
                <a:ea typeface="Roboto Light"/>
              </a:rPr>
              <a:t>Enhanced UX/Convenience</a:t>
            </a:r>
            <a:endParaRPr lang="en-DK" sz="1000">
              <a:solidFill>
                <a:srgbClr val="28313F"/>
              </a:solidFill>
              <a:latin typeface="+mj-lt"/>
              <a:ea typeface="Roboto Light"/>
            </a:endParaRPr>
          </a:p>
          <a:p>
            <a:pPr>
              <a:spcBef>
                <a:spcPts val="0"/>
              </a:spcBef>
              <a:defRPr/>
            </a:pP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Roboto Light"/>
                <a:cs typeface="Roboto Light"/>
              </a:rPr>
              <a:t>New VP300 similar weight &amp; size as old</a:t>
            </a:r>
          </a:p>
          <a:p>
            <a:pPr>
              <a:spcBef>
                <a:spcPts val="0"/>
              </a:spcBef>
              <a:defRPr/>
            </a:pP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Roboto Light"/>
                <a:cs typeface="Roboto Light"/>
              </a:rPr>
              <a:t>Highlighted touch points</a:t>
            </a:r>
          </a:p>
          <a:p>
            <a:pPr>
              <a:spcBef>
                <a:spcPts val="0"/>
              </a:spcBef>
              <a:defRPr/>
            </a:pP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Roboto Light"/>
                <a:cs typeface="Roboto Light"/>
              </a:rPr>
              <a:t>Ergonomic shaped touch points (Handle, bent-end, latch)</a:t>
            </a:r>
          </a:p>
          <a:p>
            <a:pPr>
              <a:spcBef>
                <a:spcPts val="0"/>
              </a:spcBef>
              <a:defRPr/>
            </a:pP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Roboto Light"/>
                <a:cs typeface="Roboto Light"/>
              </a:rPr>
              <a:t>Multiple cord storage options (triple on VP300)</a:t>
            </a:r>
          </a:p>
          <a:p>
            <a:pPr>
              <a:spcBef>
                <a:spcPts val="0"/>
              </a:spcBef>
              <a:defRPr/>
            </a:pP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Roboto Light"/>
                <a:cs typeface="Roboto Light"/>
              </a:rPr>
              <a:t>Cord Quick-release (VP300; fast start up every day)</a:t>
            </a:r>
          </a:p>
          <a:p>
            <a:pPr>
              <a:spcBef>
                <a:spcPts val="0"/>
              </a:spcBef>
              <a:defRPr/>
            </a:pP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Roboto Light"/>
                <a:cs typeface="Roboto Light"/>
              </a:rPr>
              <a:t>Durable large power switch</a:t>
            </a:r>
          </a:p>
          <a:p>
            <a:pPr>
              <a:spcBef>
                <a:spcPts val="0"/>
              </a:spcBef>
              <a:defRPr/>
            </a:pP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Roboto Light"/>
                <a:cs typeface="Roboto Light"/>
              </a:rPr>
              <a:t>Icon &amp; illustration guidance</a:t>
            </a:r>
            <a:endParaRPr kumimoji="0" lang="en-DK" sz="1000" b="0" i="0" u="none" strike="noStrike" kern="1200" cap="none" spc="0" normalizeH="0" baseline="0" noProof="0">
              <a:ln>
                <a:noFill/>
              </a:ln>
              <a:solidFill>
                <a:srgbClr val="28313F"/>
              </a:solidFill>
              <a:effectLst/>
              <a:uLnTx/>
              <a:uFillTx/>
              <a:latin typeface="Roboto Light"/>
              <a:ea typeface="Roboto Light"/>
              <a:cs typeface="Roboto Light"/>
            </a:endParaRPr>
          </a:p>
          <a:p>
            <a:pPr>
              <a:spcBef>
                <a:spcPts val="0"/>
              </a:spcBef>
              <a:defRPr/>
            </a:pPr>
            <a:r>
              <a:rPr lang="en-DK" sz="1000">
                <a:solidFill>
                  <a:srgbClr val="28313F"/>
                </a:solidFill>
                <a:latin typeface="Roboto Light"/>
                <a:ea typeface="Roboto Light"/>
                <a:cs typeface="Roboto Light"/>
              </a:rPr>
              <a:t>Easy</a:t>
            </a:r>
            <a:r>
              <a:rPr lang="da-DK" sz="1000">
                <a:solidFill>
                  <a:srgbClr val="28313F"/>
                </a:solidFill>
                <a:latin typeface="Roboto Light"/>
                <a:ea typeface="Roboto Light"/>
                <a:cs typeface="Roboto Light"/>
              </a:rPr>
              <a:t> hose</a:t>
            </a:r>
            <a:r>
              <a:rPr lang="en-DK" sz="1000">
                <a:solidFill>
                  <a:srgbClr val="28313F"/>
                </a:solidFill>
                <a:latin typeface="Roboto Light"/>
                <a:ea typeface="Roboto Light"/>
                <a:cs typeface="Roboto Light"/>
              </a:rPr>
              <a:t> repair</a:t>
            </a:r>
            <a:r>
              <a:rPr lang="da-DK" sz="1000">
                <a:solidFill>
                  <a:srgbClr val="28313F"/>
                </a:solidFill>
                <a:latin typeface="Roboto Light"/>
                <a:ea typeface="Roboto Light"/>
                <a:cs typeface="Roboto Light"/>
              </a:rPr>
              <a:t>/</a:t>
            </a:r>
            <a:r>
              <a:rPr lang="en-DK" sz="1000">
                <a:solidFill>
                  <a:srgbClr val="28313F"/>
                </a:solidFill>
                <a:latin typeface="Roboto Light"/>
                <a:ea typeface="Roboto Light"/>
                <a:cs typeface="Roboto Light"/>
              </a:rPr>
              <a:t>replacement </a:t>
            </a:r>
            <a:endParaRPr kumimoji="0" lang="en-GB" sz="1000" b="0" i="0" u="none" strike="noStrike" kern="1200" cap="none" spc="0" normalizeH="0" baseline="0" noProof="0">
              <a:ln>
                <a:noFill/>
              </a:ln>
              <a:solidFill>
                <a:srgbClr val="28313F"/>
              </a:solidFill>
              <a:effectLst/>
              <a:uLnTx/>
              <a:uFillTx/>
              <a:latin typeface="Roboto Light"/>
              <a:ea typeface="Roboto Light"/>
              <a:cs typeface="Roboto Light"/>
            </a:endParaRPr>
          </a:p>
          <a:p>
            <a:pPr marL="144000" indent="-144000">
              <a:spcBef>
                <a:spcPts val="0"/>
              </a:spcBef>
            </a:pPr>
            <a:endParaRPr lang="en-US" sz="1000"/>
          </a:p>
          <a:p>
            <a:pPr marL="144000" indent="-144000">
              <a:spcBef>
                <a:spcPts val="0"/>
              </a:spcBef>
              <a:buNone/>
              <a:defRPr/>
            </a:pPr>
            <a:r>
              <a:rPr lang="da-DK" sz="1000">
                <a:solidFill>
                  <a:srgbClr val="28313F"/>
                </a:solidFill>
                <a:latin typeface="+mj-lt"/>
                <a:ea typeface="Roboto Light"/>
              </a:rPr>
              <a:t>Modernised design </a:t>
            </a:r>
            <a:endParaRPr lang="en-DK" sz="1000">
              <a:solidFill>
                <a:srgbClr val="28313F"/>
              </a:solidFill>
              <a:latin typeface="+mj-lt"/>
              <a:ea typeface="Roboto Light"/>
            </a:endParaRPr>
          </a:p>
          <a:p>
            <a:pPr>
              <a:spcBef>
                <a:spcPts val="0"/>
              </a:spcBef>
              <a:defRPr/>
            </a:pPr>
            <a:r>
              <a:rPr kumimoji="0" lang="da-DK" sz="1000" b="0" i="0" u="none" strike="noStrike" kern="1200" cap="none" spc="0" normalizeH="0" baseline="0" noProof="0" err="1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Keeping</a:t>
            </a:r>
            <a:r>
              <a:rPr kumimoji="0" lang="da-DK" sz="1000" b="0" i="0" u="none" strike="noStrike" kern="1200" cap="none" spc="0" normalizeH="0" baseline="0" noProof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 </a:t>
            </a:r>
            <a:r>
              <a:rPr kumimoji="0" lang="da-DK" sz="1000" b="0" i="0" u="none" strike="noStrike" kern="1200" cap="none" spc="0" normalizeH="0" baseline="0" noProof="0" err="1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ref</a:t>
            </a:r>
            <a:r>
              <a:rPr kumimoji="0" lang="da-DK" sz="1000" b="0" i="0" u="none" strike="noStrike" kern="1200" cap="none" spc="0" normalizeH="0" baseline="0" noProof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 to old </a:t>
            </a:r>
            <a:r>
              <a:rPr kumimoji="0" lang="da-DK" sz="1000" b="0" i="0" u="none" strike="noStrike" kern="1200" cap="none" spc="0" normalizeH="0" baseline="0" noProof="0" err="1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despite</a:t>
            </a:r>
            <a:r>
              <a:rPr kumimoji="0" lang="da-DK" sz="1000" b="0" i="0" u="none" strike="noStrike" kern="1200" cap="none" spc="0" normalizeH="0" baseline="0" noProof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 new design and branding</a:t>
            </a:r>
            <a:endParaRPr kumimoji="0" lang="en-DK" sz="1000" b="0" i="0" u="none" strike="noStrike" kern="1200" cap="none" spc="0" normalizeH="0" baseline="0" noProof="0">
              <a:ln>
                <a:noFill/>
              </a:ln>
              <a:solidFill>
                <a:srgbClr val="28313F"/>
              </a:solidFill>
              <a:effectLst/>
              <a:uLnTx/>
              <a:uFillTx/>
              <a:latin typeface="Roboto Light"/>
              <a:ea typeface="+mn-ea"/>
              <a:cs typeface="+mn-cs"/>
            </a:endParaRPr>
          </a:p>
          <a:p>
            <a:pPr>
              <a:spcBef>
                <a:spcPts val="0"/>
              </a:spcBef>
              <a:defRPr/>
            </a:pPr>
            <a:r>
              <a:rPr kumimoji="0" lang="da-DK" sz="1000" b="0" i="0" u="none" strike="noStrike" kern="1200" cap="none" spc="0" normalizeH="0" baseline="0" noProof="0" err="1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Improved</a:t>
            </a:r>
            <a:r>
              <a:rPr kumimoji="0" lang="da-DK" sz="1000" b="0" i="0" u="none" strike="noStrike" kern="1200" cap="none" spc="0" normalizeH="0" baseline="0" noProof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 </a:t>
            </a:r>
            <a:r>
              <a:rPr kumimoji="0" lang="da-DK" sz="1000" b="0" i="0" u="none" strike="noStrike" kern="1200" cap="none" spc="0" normalizeH="0" baseline="0" noProof="0" err="1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packaging</a:t>
            </a:r>
            <a:r>
              <a:rPr kumimoji="0" lang="da-DK" sz="1000" b="0" i="0" u="none" strike="noStrike" kern="1200" cap="none" spc="0" normalizeH="0" baseline="0" noProof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 content </a:t>
            </a:r>
            <a:r>
              <a:rPr kumimoji="0" lang="da-DK" sz="1000" b="0" i="1" u="none" strike="noStrike" kern="1200" cap="none" spc="0" normalizeH="0" baseline="0" noProof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(</a:t>
            </a:r>
            <a:r>
              <a:rPr kumimoji="0" lang="da-DK" sz="1000" b="0" i="1" u="none" strike="noStrike" kern="1200" cap="none" spc="0" normalizeH="0" baseline="0" noProof="0" err="1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selling</a:t>
            </a:r>
            <a:r>
              <a:rPr kumimoji="0" lang="da-DK" sz="1000" b="0" i="1" u="none" strike="noStrike" kern="1200" cap="none" spc="0" normalizeH="0" baseline="0" noProof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 points)</a:t>
            </a:r>
            <a:endParaRPr kumimoji="0" lang="en-GB" sz="1000" b="0" i="1" u="none" strike="noStrike" kern="1200" cap="none" spc="0" normalizeH="0" baseline="0" noProof="0">
              <a:ln>
                <a:noFill/>
              </a:ln>
              <a:solidFill>
                <a:srgbClr val="28313F"/>
              </a:solidFill>
              <a:effectLst/>
              <a:uLnTx/>
              <a:uFillTx/>
              <a:latin typeface="Roboto Light"/>
              <a:ea typeface="+mn-ea"/>
              <a:cs typeface="+mn-cs"/>
            </a:endParaRPr>
          </a:p>
          <a:p>
            <a:pPr marL="144000" indent="-144000">
              <a:spcBef>
                <a:spcPts val="0"/>
              </a:spcBef>
            </a:pPr>
            <a:endParaRPr lang="en-US" sz="1000"/>
          </a:p>
          <a:p>
            <a:pPr marL="144000" marR="0" lvl="0" indent="-144000" fontAlgn="auto">
              <a:spcBef>
                <a:spcPts val="0"/>
              </a:spcBef>
              <a:buClrTx/>
              <a:buSzTx/>
              <a:buNone/>
              <a:tabLst/>
              <a:defRPr/>
            </a:pPr>
            <a:r>
              <a:rPr lang="en-GB" sz="1000">
                <a:solidFill>
                  <a:srgbClr val="28313F"/>
                </a:solidFill>
                <a:latin typeface="+mj-lt"/>
                <a:ea typeface="Roboto Light"/>
              </a:rPr>
              <a:t>Service/maintenance kits</a:t>
            </a:r>
          </a:p>
          <a:p>
            <a:pPr>
              <a:spcBef>
                <a:spcPts val="0"/>
              </a:spcBef>
              <a:defRPr/>
            </a:pP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Roboto Light"/>
                <a:cs typeface="Roboto Light"/>
              </a:rPr>
              <a:t>Light (5x bags, 1x HEPA, 1x Motor filter)</a:t>
            </a:r>
            <a:endParaRPr kumimoji="0" lang="en-DK" sz="1000" b="0" i="0" u="none" strike="noStrike" kern="1200" cap="none" spc="0" normalizeH="0" baseline="0" noProof="0">
              <a:ln>
                <a:noFill/>
              </a:ln>
              <a:solidFill>
                <a:srgbClr val="28313F"/>
              </a:solidFill>
              <a:effectLst/>
              <a:uLnTx/>
              <a:uFillTx/>
              <a:latin typeface="Roboto Light"/>
              <a:ea typeface="Roboto Light"/>
              <a:cs typeface="Roboto Light"/>
            </a:endParaRPr>
          </a:p>
          <a:p>
            <a:pPr>
              <a:spcBef>
                <a:spcPts val="0"/>
              </a:spcBef>
              <a:defRPr/>
            </a:pP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Roboto Light"/>
                <a:cs typeface="Roboto Light"/>
              </a:rPr>
              <a:t>Plus (20x bags, 1x HEPA, 1x Motor filter)</a:t>
            </a:r>
          </a:p>
          <a:p>
            <a:pPr marL="144000" indent="-144000">
              <a:spcBef>
                <a:spcPts val="0"/>
              </a:spcBef>
            </a:pPr>
            <a:endParaRPr lang="en-US" sz="1000"/>
          </a:p>
        </p:txBody>
      </p:sp>
      <p:sp>
        <p:nvSpPr>
          <p:cNvPr id="16" name="Footer Placeholder 15">
            <a:extLst>
              <a:ext uri="{FF2B5EF4-FFF2-40B4-BE49-F238E27FC236}">
                <a16:creationId xmlns:a16="http://schemas.microsoft.com/office/drawing/2014/main" id="{88DF0AA0-C277-8BB5-B7C5-5BAE76D49794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17" name="Slide Number Placeholder 16">
            <a:extLst>
              <a:ext uri="{FF2B5EF4-FFF2-40B4-BE49-F238E27FC236}">
                <a16:creationId xmlns:a16="http://schemas.microsoft.com/office/drawing/2014/main" id="{C4D039D0-9C89-4647-C69B-D9A444FACFBA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12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1AD6F595-297F-2A04-A4E4-5FCD1D7B151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 vert="horz" lIns="0" tIns="0" rIns="0" bIns="0" rtlCol="0" anchor="t">
            <a:noAutofit/>
          </a:bodyPr>
          <a:lstStyle/>
          <a:p>
            <a:r>
              <a:rPr lang="en-US">
                <a:ea typeface="Roboto Light"/>
              </a:rPr>
              <a:t>VP300 &amp; VP400</a:t>
            </a:r>
            <a:endParaRPr lang="en-US"/>
          </a:p>
        </p:txBody>
      </p:sp>
      <p:sp>
        <p:nvSpPr>
          <p:cNvPr id="18" name="Title 17">
            <a:extLst>
              <a:ext uri="{FF2B5EF4-FFF2-40B4-BE49-F238E27FC236}">
                <a16:creationId xmlns:a16="http://schemas.microsoft.com/office/drawing/2014/main" id="{416633A5-6408-E355-2A34-0B5CC43A40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New range upgrades</a:t>
            </a:r>
            <a:endParaRPr lang="da-DK"/>
          </a:p>
        </p:txBody>
      </p:sp>
      <p:cxnSp>
        <p:nvCxnSpPr>
          <p:cNvPr id="3" name="Google Shape;117;p28">
            <a:extLst>
              <a:ext uri="{FF2B5EF4-FFF2-40B4-BE49-F238E27FC236}">
                <a16:creationId xmlns:a16="http://schemas.microsoft.com/office/drawing/2014/main" id="{5BA5DD7F-394A-1A9C-AC70-76DD8842D692}"/>
              </a:ext>
            </a:extLst>
          </p:cNvPr>
          <p:cNvCxnSpPr/>
          <p:nvPr/>
        </p:nvCxnSpPr>
        <p:spPr>
          <a:xfrm rot="10800000" flipH="1">
            <a:off x="9189931" y="4226834"/>
            <a:ext cx="1351880" cy="674991"/>
          </a:xfrm>
          <a:prstGeom prst="straightConnector1">
            <a:avLst/>
          </a:prstGeom>
          <a:noFill/>
          <a:ln w="9525" cap="flat" cmpd="sng">
            <a:solidFill>
              <a:schemeClr val="tx2"/>
            </a:solidFill>
            <a:prstDash val="dashDot"/>
            <a:round/>
            <a:headEnd type="triangle" w="med" len="med"/>
            <a:tailEnd type="triangle" w="med" len="med"/>
          </a:ln>
        </p:spPr>
      </p:cxnSp>
      <p:cxnSp>
        <p:nvCxnSpPr>
          <p:cNvPr id="5" name="Google Shape;118;p28">
            <a:extLst>
              <a:ext uri="{FF2B5EF4-FFF2-40B4-BE49-F238E27FC236}">
                <a16:creationId xmlns:a16="http://schemas.microsoft.com/office/drawing/2014/main" id="{779D62AF-951F-80F4-36DE-1723B6E43370}"/>
              </a:ext>
            </a:extLst>
          </p:cNvPr>
          <p:cNvCxnSpPr>
            <a:cxnSpLocks/>
          </p:cNvCxnSpPr>
          <p:nvPr/>
        </p:nvCxnSpPr>
        <p:spPr>
          <a:xfrm>
            <a:off x="10541811" y="1766233"/>
            <a:ext cx="20200" cy="2460600"/>
          </a:xfrm>
          <a:prstGeom prst="straightConnector1">
            <a:avLst/>
          </a:prstGeom>
          <a:noFill/>
          <a:ln w="9525" cap="flat" cmpd="sng">
            <a:solidFill>
              <a:schemeClr val="tx2"/>
            </a:solidFill>
            <a:prstDash val="dashDot"/>
            <a:round/>
            <a:headEnd type="triangle" w="med" len="med"/>
            <a:tailEnd type="triangle" w="med" len="med"/>
          </a:ln>
        </p:spPr>
      </p:cxnSp>
      <p:cxnSp>
        <p:nvCxnSpPr>
          <p:cNvPr id="8" name="Google Shape;119;p28">
            <a:extLst>
              <a:ext uri="{FF2B5EF4-FFF2-40B4-BE49-F238E27FC236}">
                <a16:creationId xmlns:a16="http://schemas.microsoft.com/office/drawing/2014/main" id="{B9E38E97-2225-527F-FD57-18080A174C34}"/>
              </a:ext>
            </a:extLst>
          </p:cNvPr>
          <p:cNvCxnSpPr>
            <a:cxnSpLocks/>
          </p:cNvCxnSpPr>
          <p:nvPr/>
        </p:nvCxnSpPr>
        <p:spPr>
          <a:xfrm>
            <a:off x="7612798" y="4226833"/>
            <a:ext cx="1577371" cy="675071"/>
          </a:xfrm>
          <a:prstGeom prst="straightConnector1">
            <a:avLst/>
          </a:prstGeom>
          <a:noFill/>
          <a:ln w="9525" cap="flat" cmpd="sng">
            <a:solidFill>
              <a:schemeClr val="tx2"/>
            </a:solidFill>
            <a:prstDash val="dashDot"/>
            <a:round/>
            <a:headEnd type="triangle" w="med" len="med"/>
            <a:tailEnd type="triangle" w="med" len="med"/>
          </a:ln>
        </p:spPr>
      </p:cxnSp>
      <p:sp>
        <p:nvSpPr>
          <p:cNvPr id="9" name="Google Shape;120;p28">
            <a:extLst>
              <a:ext uri="{FF2B5EF4-FFF2-40B4-BE49-F238E27FC236}">
                <a16:creationId xmlns:a16="http://schemas.microsoft.com/office/drawing/2014/main" id="{5F45B4EA-9522-CA68-485C-7ABAD569B40C}"/>
              </a:ext>
            </a:extLst>
          </p:cNvPr>
          <p:cNvSpPr/>
          <p:nvPr/>
        </p:nvSpPr>
        <p:spPr>
          <a:xfrm rot="21598889">
            <a:off x="9758283" y="4665585"/>
            <a:ext cx="1467145" cy="4544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100">
                <a:solidFill>
                  <a:srgbClr val="252526"/>
                </a:solidFill>
                <a:ea typeface="Poppins"/>
                <a:cs typeface="Poppins"/>
                <a:sym typeface="Poppins"/>
              </a:rPr>
              <a:t>395 mm /</a:t>
            </a:r>
            <a:endParaRPr sz="1100">
              <a:solidFill>
                <a:srgbClr val="252526"/>
              </a:solidFill>
              <a:ea typeface="Poppins"/>
              <a:cs typeface="Poppins"/>
              <a:sym typeface="Poppins"/>
            </a:endParaRP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100">
                <a:solidFill>
                  <a:srgbClr val="252526"/>
                </a:solidFill>
                <a:ea typeface="Poppins"/>
                <a:cs typeface="Poppins"/>
                <a:sym typeface="Poppins"/>
              </a:rPr>
              <a:t>15.55 in</a:t>
            </a:r>
            <a:endParaRPr sz="1100">
              <a:solidFill>
                <a:srgbClr val="252526"/>
              </a:solidFill>
              <a:ea typeface="Poppins"/>
              <a:cs typeface="Poppins"/>
              <a:sym typeface="Poppins"/>
            </a:endParaRPr>
          </a:p>
        </p:txBody>
      </p:sp>
      <p:sp>
        <p:nvSpPr>
          <p:cNvPr id="11" name="Google Shape;121;p28">
            <a:extLst>
              <a:ext uri="{FF2B5EF4-FFF2-40B4-BE49-F238E27FC236}">
                <a16:creationId xmlns:a16="http://schemas.microsoft.com/office/drawing/2014/main" id="{4EAE4697-DD27-DDD8-769A-6D07DA8E0866}"/>
              </a:ext>
            </a:extLst>
          </p:cNvPr>
          <p:cNvSpPr/>
          <p:nvPr/>
        </p:nvSpPr>
        <p:spPr>
          <a:xfrm>
            <a:off x="7301536" y="4764994"/>
            <a:ext cx="1147475" cy="4548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100">
                <a:solidFill>
                  <a:srgbClr val="252526"/>
                </a:solidFill>
                <a:ea typeface="Poppins"/>
                <a:cs typeface="Poppins"/>
                <a:sym typeface="Poppins"/>
              </a:rPr>
              <a:t>340 mm / </a:t>
            </a:r>
            <a:br>
              <a:rPr lang="en-GB" sz="1100">
                <a:solidFill>
                  <a:srgbClr val="252526"/>
                </a:solidFill>
                <a:ea typeface="Poppins"/>
                <a:cs typeface="Poppins"/>
                <a:sym typeface="Poppins"/>
              </a:rPr>
            </a:br>
            <a:r>
              <a:rPr lang="en-GB" sz="1100">
                <a:solidFill>
                  <a:srgbClr val="252526"/>
                </a:solidFill>
                <a:ea typeface="Poppins"/>
                <a:cs typeface="Poppins"/>
                <a:sym typeface="Poppins"/>
              </a:rPr>
              <a:t>13.38 in</a:t>
            </a:r>
            <a:endParaRPr sz="1100">
              <a:solidFill>
                <a:srgbClr val="252526"/>
              </a:solidFill>
              <a:ea typeface="Poppins"/>
              <a:cs typeface="Poppins"/>
              <a:sym typeface="Poppins"/>
            </a:endParaRPr>
          </a:p>
        </p:txBody>
      </p:sp>
      <p:sp>
        <p:nvSpPr>
          <p:cNvPr id="13" name="Google Shape;122;p28">
            <a:extLst>
              <a:ext uri="{FF2B5EF4-FFF2-40B4-BE49-F238E27FC236}">
                <a16:creationId xmlns:a16="http://schemas.microsoft.com/office/drawing/2014/main" id="{31F68851-BF78-7AA1-B802-708458D6A3BA}"/>
              </a:ext>
            </a:extLst>
          </p:cNvPr>
          <p:cNvSpPr/>
          <p:nvPr/>
        </p:nvSpPr>
        <p:spPr>
          <a:xfrm rot="21598889">
            <a:off x="10641023" y="2467362"/>
            <a:ext cx="1077335" cy="4546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100">
                <a:solidFill>
                  <a:srgbClr val="252526"/>
                </a:solidFill>
                <a:ea typeface="Poppins"/>
                <a:cs typeface="Poppins"/>
                <a:sym typeface="Poppins"/>
              </a:rPr>
              <a:t>398 mm / </a:t>
            </a:r>
            <a:br>
              <a:rPr lang="en-GB" sz="1100">
                <a:solidFill>
                  <a:srgbClr val="252526"/>
                </a:solidFill>
                <a:ea typeface="Poppins"/>
                <a:cs typeface="Poppins"/>
                <a:sym typeface="Poppins"/>
              </a:rPr>
            </a:br>
            <a:r>
              <a:rPr lang="en-GB" sz="1100">
                <a:solidFill>
                  <a:srgbClr val="252526"/>
                </a:solidFill>
                <a:ea typeface="Poppins"/>
                <a:cs typeface="Poppins"/>
                <a:sym typeface="Poppins"/>
              </a:rPr>
              <a:t>15.66 in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21337DB9-C54F-6A1B-A72E-C349C92DF352}"/>
              </a:ext>
            </a:extLst>
          </p:cNvPr>
          <p:cNvSpPr txBox="1"/>
          <p:nvPr/>
        </p:nvSpPr>
        <p:spPr>
          <a:xfrm>
            <a:off x="6205537" y="5824568"/>
            <a:ext cx="5507037" cy="458757"/>
          </a:xfrm>
          <a:prstGeom prst="rect">
            <a:avLst/>
          </a:prstGeom>
          <a:noFill/>
        </p:spPr>
        <p:txBody>
          <a:bodyPr wrap="square" lIns="216000" tIns="0" rIns="0" bIns="180000" anchor="b" anchorCtr="0">
            <a:spAutoFit/>
          </a:bodyPr>
          <a:lstStyle/>
          <a:p>
            <a:r>
              <a:rPr lang="en-US" sz="900">
                <a:latin typeface="Roboto Light italic" panose="02000000000000000000" pitchFamily="2" charset="0"/>
                <a:ea typeface="Roboto Light italic" panose="02000000000000000000" pitchFamily="2" charset="0"/>
              </a:rPr>
              <a:t>* All VP400 models, most VP300</a:t>
            </a:r>
          </a:p>
          <a:p>
            <a:r>
              <a:rPr lang="en-US" sz="900">
                <a:latin typeface="Roboto Light italic" panose="02000000000000000000" pitchFamily="2" charset="0"/>
                <a:ea typeface="Roboto Light italic" panose="02000000000000000000" pitchFamily="2" charset="0"/>
              </a:rPr>
              <a:t>** by “normal use”</a:t>
            </a:r>
          </a:p>
        </p:txBody>
      </p:sp>
    </p:spTree>
    <p:extLst>
      <p:ext uri="{BB962C8B-B14F-4D97-AF65-F5344CB8AC3E}">
        <p14:creationId xmlns:p14="http://schemas.microsoft.com/office/powerpoint/2010/main" val="32034206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E56C669D-4C74-727F-4515-C8A108860E1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 vert="horz" lIns="0" tIns="0" rIns="0" bIns="0" rtlCol="0" anchor="t">
            <a:noAutofit/>
          </a:bodyPr>
          <a:lstStyle/>
          <a:p>
            <a:r>
              <a:rPr lang="en-US"/>
              <a:t>Press play to start video</a:t>
            </a:r>
            <a:endParaRPr lang="en-US">
              <a:solidFill>
                <a:srgbClr val="FF0000"/>
              </a:solidFill>
              <a:ea typeface="Roboto Light"/>
              <a:cs typeface="Roboto Light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F880E776-EF4E-D185-1017-25BD12BC0F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DK" sz="2800" dirty="0"/>
              <a:t>Sales demo</a:t>
            </a:r>
            <a:r>
              <a:rPr lang="en-DK" dirty="0"/>
              <a:t> – </a:t>
            </a:r>
            <a:r>
              <a:rPr lang="en-DK" sz="2000" dirty="0"/>
              <a:t>VIDEO TO BE REPLACED WITH THE ONE THAT DOESN'T SAY CANISTER</a:t>
            </a:r>
            <a:endParaRPr lang="en-US" sz="2000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D5D8408-3744-CCA7-2F7F-9ADE2A02DEE5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A981EA6-B842-780A-0126-E8AB85A218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13</a:t>
            </a:fld>
            <a:endParaRPr lang="en-US"/>
          </a:p>
        </p:txBody>
      </p:sp>
      <p:pic>
        <p:nvPicPr>
          <p:cNvPr id="3" name="N113_0067_V1_VP300-400-Sales-demo-video-15429_4K_EN-UK_PROOF1">
            <a:hlinkClick r:id="" action="ppaction://media"/>
            <a:extLst>
              <a:ext uri="{FF2B5EF4-FFF2-40B4-BE49-F238E27FC236}">
                <a16:creationId xmlns:a16="http://schemas.microsoft.com/office/drawing/2014/main" id="{8FC951C5-2A8E-89A8-1F68-1C7FE2BDDA61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1809262" y="1310880"/>
            <a:ext cx="8258908" cy="46462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46538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>
                <p:cTn id="7" fill="hold" display="0">
                  <p:stCondLst>
                    <p:cond delay="indefinite"/>
                  </p:stCondLst>
                </p:cTn>
                <p:tgtEl>
                  <p:spTgt spid="3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3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3"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2E3B875-8C5B-5C29-70D1-3E929CB8A5D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A11B88F0-FA8A-C4DE-869C-F5E4D7DC562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0"/>
            <a:ext cx="12191999" cy="6283325"/>
          </a:xfrm>
        </p:spPr>
        <p:txBody>
          <a:bodyPr/>
          <a:lstStyle/>
          <a:p>
            <a:pPr>
              <a:tabLst>
                <a:tab pos="989013" algn="l"/>
                <a:tab pos="6096000" algn="l"/>
              </a:tabLst>
            </a:pPr>
            <a:r>
              <a:rPr lang="en-US"/>
              <a:t>4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80B0004-B218-3A28-56DA-DCD540C91E6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/>
              <a:t>Technical specifications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84A16A0-9ACE-7DE6-D57E-BAAF2DDA2C7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EAEFC2C-F590-4DA5-3AED-C3A3239A56F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7164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 descr="A vacuum cleaner on wheels&#10;&#10;Description automatically generated">
            <a:extLst>
              <a:ext uri="{FF2B5EF4-FFF2-40B4-BE49-F238E27FC236}">
                <a16:creationId xmlns:a16="http://schemas.microsoft.com/office/drawing/2014/main" id="{0E480920-662F-12C9-D3E2-DCCF29CC2BB5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56436" y="1236914"/>
            <a:ext cx="4744995" cy="3906410"/>
          </a:xfrm>
          <a:prstGeom prst="rect">
            <a:avLst/>
          </a:prstGeom>
        </p:spPr>
      </p:pic>
      <p:pic>
        <p:nvPicPr>
          <p:cNvPr id="8" name="Picture 7" descr="A black and orange vacuum cleaner&#10;&#10;Description automatically generated">
            <a:extLst>
              <a:ext uri="{FF2B5EF4-FFF2-40B4-BE49-F238E27FC236}">
                <a16:creationId xmlns:a16="http://schemas.microsoft.com/office/drawing/2014/main" id="{0684409B-CE20-8002-21FE-E80AEFA86B0D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65319" y="1921613"/>
            <a:ext cx="2691543" cy="2750827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209AB3B9-848F-0060-D091-99B2ADBA8019}"/>
              </a:ext>
            </a:extLst>
          </p:cNvPr>
          <p:cNvSpPr txBox="1"/>
          <p:nvPr/>
        </p:nvSpPr>
        <p:spPr>
          <a:xfrm>
            <a:off x="6660358" y="4415261"/>
            <a:ext cx="1647870" cy="2923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sz="1300">
                <a:latin typeface="+mj-lt"/>
              </a:rPr>
              <a:t>VP300</a:t>
            </a:r>
            <a:endParaRPr lang="en-US" sz="1300">
              <a:latin typeface="+mj-lt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EEE68D2-A51A-582A-0B58-A8295E2B096A}"/>
              </a:ext>
            </a:extLst>
          </p:cNvPr>
          <p:cNvSpPr txBox="1"/>
          <p:nvPr/>
        </p:nvSpPr>
        <p:spPr>
          <a:xfrm>
            <a:off x="9430474" y="4415261"/>
            <a:ext cx="1647870" cy="2923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sz="1300">
                <a:latin typeface="+mj-lt"/>
              </a:rPr>
              <a:t>VP300 (New)</a:t>
            </a:r>
            <a:endParaRPr lang="en-US" sz="1300">
              <a:latin typeface="+mj-lt"/>
            </a:endParaRPr>
          </a:p>
        </p:txBody>
      </p:sp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C8856BF1-11F6-4068-BE7C-AD7F05E5CE7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25" imgH="426" progId="TCLayout.ActiveDocument.1">
                  <p:embed/>
                </p:oleObj>
              </mc:Choice>
              <mc:Fallback>
                <p:oleObj name="think-cell Slide" r:id="rId6" imgW="425" imgH="426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C8856BF1-11F6-4068-BE7C-AD7F05E5CE7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6607A86-922E-4A25-8EAF-AC0BA370B40D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rPr lang="en-US" noProof="0"/>
              <a:t>COMPANY CONFIDENTIA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E434E9E-DF65-49B8-A707-1740173ADC31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C385236-B7BA-4938-9EA6-6DEC8CA653D7}" type="slidenum">
              <a:rPr lang="en-US" noProof="0" smtClean="0"/>
              <a:pPr/>
              <a:t>15</a:t>
            </a:fld>
            <a:endParaRPr lang="en-US" noProof="0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16211875-350E-32BF-8C21-EAA0449B3DF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/>
              <a:t>Old vs New (upgrade colored area)</a:t>
            </a:r>
            <a:endParaRPr lang="da-DK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73C4DFAD-B5C4-4FC3-AF88-4C68A1E3E3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VP300 Summary</a:t>
            </a:r>
          </a:p>
        </p:txBody>
      </p:sp>
      <p:graphicFrame>
        <p:nvGraphicFramePr>
          <p:cNvPr id="10" name="Table 3">
            <a:extLst>
              <a:ext uri="{FF2B5EF4-FFF2-40B4-BE49-F238E27FC236}">
                <a16:creationId xmlns:a16="http://schemas.microsoft.com/office/drawing/2014/main" id="{44FB1182-AFB0-EA92-9205-0D8E50D0529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17720250"/>
              </p:ext>
            </p:extLst>
          </p:nvPr>
        </p:nvGraphicFramePr>
        <p:xfrm>
          <a:off x="475521" y="1791511"/>
          <a:ext cx="5220000" cy="44281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276000">
                  <a:extLst>
                    <a:ext uri="{9D8B030D-6E8A-4147-A177-3AD203B41FA5}">
                      <a16:colId xmlns:a16="http://schemas.microsoft.com/office/drawing/2014/main" val="1602329277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1287508165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1208162191"/>
                    </a:ext>
                  </a:extLst>
                </a:gridCol>
              </a:tblGrid>
              <a:tr h="216000">
                <a:tc>
                  <a:txBody>
                    <a:bodyPr/>
                    <a:lstStyle/>
                    <a:p>
                      <a:pPr algn="l"/>
                      <a:r>
                        <a:rPr lang="en-GB" sz="1000" b="0">
                          <a:solidFill>
                            <a:schemeClr val="tx1"/>
                          </a:solidFill>
                          <a:latin typeface="+mj-lt"/>
                        </a:rPr>
                        <a:t>Feature</a:t>
                      </a: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00" b="0">
                          <a:solidFill>
                            <a:schemeClr val="tx1"/>
                          </a:solidFill>
                          <a:latin typeface="+mj-lt"/>
                        </a:rPr>
                        <a:t>VP300</a:t>
                      </a: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00" b="0">
                          <a:solidFill>
                            <a:schemeClr val="tx1"/>
                          </a:solidFill>
                          <a:latin typeface="+mj-lt"/>
                        </a:rPr>
                        <a:t>VP300 (New)</a:t>
                      </a: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91725890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/>
                      <a:r>
                        <a:rPr lang="en-GB" sz="900">
                          <a:solidFill>
                            <a:schemeClr val="tx1"/>
                          </a:solidFill>
                        </a:rPr>
                        <a:t>Machine bumper</a:t>
                      </a: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" panose="02000000000000000000" pitchFamily="2" charset="0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en-GB" sz="9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" panose="02000000000000000000" pitchFamily="2" charset="0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en-GB" sz="9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27027331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/>
                      <a:r>
                        <a:rPr lang="en-GB" sz="900">
                          <a:solidFill>
                            <a:schemeClr val="tx1"/>
                          </a:solidFill>
                        </a:rPr>
                        <a:t>Lightweight</a:t>
                      </a: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" panose="02000000000000000000" pitchFamily="2" charset="0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en-GB" sz="9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" panose="02000000000000000000" pitchFamily="2" charset="0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en-GB" sz="9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581640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/>
                      <a:r>
                        <a:rPr lang="en-GB" sz="900">
                          <a:solidFill>
                            <a:schemeClr val="tx1"/>
                          </a:solidFill>
                        </a:rPr>
                        <a:t>Tube parking position</a:t>
                      </a: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" panose="02000000000000000000" pitchFamily="2" charset="0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en-GB" sz="9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" panose="02000000000000000000" pitchFamily="2" charset="0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en-GB" sz="9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88965416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/>
                      <a:r>
                        <a:rPr lang="en-GB" sz="900">
                          <a:solidFill>
                            <a:schemeClr val="tx1"/>
                          </a:solidFill>
                        </a:rPr>
                        <a:t>HEPA filter</a:t>
                      </a: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" panose="02000000000000000000" pitchFamily="2" charset="0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en-GB" sz="9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" panose="02000000000000000000" pitchFamily="2" charset="0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en-GB" sz="9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72018583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/>
                      <a:r>
                        <a:rPr lang="en-GB" sz="900">
                          <a:solidFill>
                            <a:schemeClr val="tx1"/>
                          </a:solidFill>
                        </a:rPr>
                        <a:t>Accessories storage</a:t>
                      </a: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" panose="02000000000000000000" pitchFamily="2" charset="0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en-GB" sz="9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" panose="02000000000000000000" pitchFamily="2" charset="0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en-GB" sz="9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19168444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/>
                      <a:r>
                        <a:rPr lang="en-GB" sz="900">
                          <a:solidFill>
                            <a:schemeClr val="tx1"/>
                          </a:solidFill>
                        </a:rPr>
                        <a:t>Good functioning container lock</a:t>
                      </a: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" panose="02000000000000000000" pitchFamily="2" charset="0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en-GB" sz="9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" panose="02000000000000000000" pitchFamily="2" charset="0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en-GB" sz="9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56151765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/>
                      <a:endParaRPr lang="en-GB" sz="900">
                        <a:solidFill>
                          <a:schemeClr val="tx1"/>
                        </a:solidFill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900">
                        <a:solidFill>
                          <a:schemeClr val="tx1"/>
                        </a:solidFill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9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81883175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/>
                      <a:r>
                        <a:rPr lang="en-GB" sz="900">
                          <a:solidFill>
                            <a:schemeClr val="tx1"/>
                          </a:solidFill>
                        </a:rPr>
                        <a:t>Highlighted touchpoints</a:t>
                      </a: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900">
                        <a:solidFill>
                          <a:schemeClr val="tx1"/>
                        </a:solidFill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" panose="02000000000000000000" pitchFamily="2" charset="0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en-GB" sz="9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03646940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/>
                      <a:r>
                        <a:rPr lang="en-GB" sz="900">
                          <a:solidFill>
                            <a:schemeClr val="tx1"/>
                          </a:solidFill>
                        </a:rPr>
                        <a:t>No-tool HEPA Filter access</a:t>
                      </a: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900">
                        <a:solidFill>
                          <a:schemeClr val="tx1"/>
                        </a:solidFill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" panose="02000000000000000000" pitchFamily="2" charset="0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en-GB" sz="9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1460644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/>
                      <a:r>
                        <a:rPr lang="en-GB" sz="900">
                          <a:solidFill>
                            <a:schemeClr val="tx1"/>
                          </a:solidFill>
                        </a:rPr>
                        <a:t>Protected lock mechanism</a:t>
                      </a: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900">
                        <a:solidFill>
                          <a:schemeClr val="tx1"/>
                        </a:solidFill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" panose="02000000000000000000" pitchFamily="2" charset="0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en-GB" sz="9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5060503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/>
                      <a:r>
                        <a:rPr lang="en-GB" sz="900">
                          <a:solidFill>
                            <a:schemeClr val="tx1"/>
                          </a:solidFill>
                        </a:rPr>
                        <a:t>Detachable cord standard on most models</a:t>
                      </a: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900">
                        <a:solidFill>
                          <a:schemeClr val="tx1"/>
                        </a:solidFill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" panose="02000000000000000000" pitchFamily="2" charset="0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en-GB" sz="9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52581960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/>
                      <a:r>
                        <a:rPr lang="en-GB" sz="900">
                          <a:solidFill>
                            <a:schemeClr val="tx1"/>
                          </a:solidFill>
                        </a:rPr>
                        <a:t>Robust foot operated on / off switch</a:t>
                      </a: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900">
                        <a:solidFill>
                          <a:schemeClr val="tx1"/>
                        </a:solidFill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" panose="02000000000000000000" pitchFamily="2" charset="0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en-GB" sz="9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540955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/>
                      <a:r>
                        <a:rPr lang="en-GB" sz="900">
                          <a:solidFill>
                            <a:schemeClr val="tx1"/>
                          </a:solidFill>
                        </a:rPr>
                        <a:t>Ergonomic handle + Ergo latch</a:t>
                      </a: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900">
                        <a:solidFill>
                          <a:schemeClr val="tx1"/>
                        </a:solidFill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" panose="02000000000000000000" pitchFamily="2" charset="0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en-GB" sz="9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03934877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/>
                      <a:r>
                        <a:rPr lang="en-GB" sz="900">
                          <a:solidFill>
                            <a:schemeClr val="tx1"/>
                          </a:solidFill>
                        </a:rPr>
                        <a:t>Improved accessory storage</a:t>
                      </a: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900">
                        <a:solidFill>
                          <a:schemeClr val="tx1"/>
                        </a:solidFill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" panose="02000000000000000000" pitchFamily="2" charset="0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en-GB" sz="9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5612157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/>
                      <a:r>
                        <a:rPr lang="en-GB" sz="900">
                          <a:solidFill>
                            <a:schemeClr val="tx1"/>
                          </a:solidFill>
                        </a:rPr>
                        <a:t>Improved cord storage/management (time optimize)</a:t>
                      </a: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900">
                        <a:solidFill>
                          <a:schemeClr val="tx1"/>
                        </a:solidFill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" panose="02000000000000000000" pitchFamily="2" charset="0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en-GB" sz="9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4507314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/>
                      <a:r>
                        <a:rPr lang="en-GB" sz="900">
                          <a:solidFill>
                            <a:schemeClr val="tx1"/>
                          </a:solidFill>
                        </a:rPr>
                        <a:t>Quick-release cord management</a:t>
                      </a: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900">
                        <a:solidFill>
                          <a:schemeClr val="tx1"/>
                        </a:solidFill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" panose="02000000000000000000" pitchFamily="2" charset="0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en-GB" sz="9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93755855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/>
                      <a:r>
                        <a:rPr lang="en-GB" sz="900">
                          <a:solidFill>
                            <a:schemeClr val="tx1"/>
                          </a:solidFill>
                        </a:rPr>
                        <a:t>Easier prefilter removal</a:t>
                      </a: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900">
                        <a:solidFill>
                          <a:schemeClr val="tx1"/>
                        </a:solidFill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" panose="02000000000000000000" pitchFamily="2" charset="0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en-GB" sz="9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0996347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932936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black and blue vacuum cleaner&#10;&#10;Description automatically generated">
            <a:extLst>
              <a:ext uri="{FF2B5EF4-FFF2-40B4-BE49-F238E27FC236}">
                <a16:creationId xmlns:a16="http://schemas.microsoft.com/office/drawing/2014/main" id="{1B9FBB36-33D6-AEB7-0591-8DEDBBA0870E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034092" y="1901063"/>
            <a:ext cx="2744177" cy="2854905"/>
          </a:xfrm>
          <a:prstGeom prst="rect">
            <a:avLst/>
          </a:prstGeom>
        </p:spPr>
      </p:pic>
      <p:pic>
        <p:nvPicPr>
          <p:cNvPr id="17" name="Picture 16" descr="A grey and white vacuum cleaner&#10;&#10;Description automatically generated">
            <a:extLst>
              <a:ext uri="{FF2B5EF4-FFF2-40B4-BE49-F238E27FC236}">
                <a16:creationId xmlns:a16="http://schemas.microsoft.com/office/drawing/2014/main" id="{D91B88C6-4337-5BE1-47A8-1B9DE5A85366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674335" y="1839806"/>
            <a:ext cx="3685565" cy="3252894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18276C3D-F644-6009-2F70-FBE5CD687BE3}"/>
              </a:ext>
            </a:extLst>
          </p:cNvPr>
          <p:cNvSpPr txBox="1"/>
          <p:nvPr/>
        </p:nvSpPr>
        <p:spPr>
          <a:xfrm>
            <a:off x="6660358" y="4415261"/>
            <a:ext cx="1647870" cy="2923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sz="1300">
                <a:latin typeface="+mj-lt"/>
              </a:rPr>
              <a:t>VP600</a:t>
            </a:r>
            <a:endParaRPr lang="en-US" sz="1300">
              <a:latin typeface="+mj-lt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0BFB8B2-1868-2052-558C-094892CB3680}"/>
              </a:ext>
            </a:extLst>
          </p:cNvPr>
          <p:cNvSpPr txBox="1"/>
          <p:nvPr/>
        </p:nvSpPr>
        <p:spPr>
          <a:xfrm>
            <a:off x="9430474" y="4415261"/>
            <a:ext cx="1647870" cy="2923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sz="1300">
                <a:latin typeface="+mj-lt"/>
              </a:rPr>
              <a:t>VP400 (New)</a:t>
            </a:r>
            <a:endParaRPr lang="en-US" sz="1300">
              <a:latin typeface="+mj-lt"/>
            </a:endParaRPr>
          </a:p>
        </p:txBody>
      </p:sp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C8856BF1-11F6-4068-BE7C-AD7F05E5CE7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25" imgH="426" progId="TCLayout.ActiveDocument.1">
                  <p:embed/>
                </p:oleObj>
              </mc:Choice>
              <mc:Fallback>
                <p:oleObj name="think-cell Slide" r:id="rId6" imgW="425" imgH="426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C8856BF1-11F6-4068-BE7C-AD7F05E5CE7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6607A86-922E-4A25-8EAF-AC0BA370B40D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rPr lang="en-US" noProof="0"/>
              <a:t>COMPANY CONFIDENTIA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E434E9E-DF65-49B8-A707-1740173ADC31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C385236-B7BA-4938-9EA6-6DEC8CA653D7}" type="slidenum">
              <a:rPr lang="en-US" noProof="0" smtClean="0"/>
              <a:pPr/>
              <a:t>16</a:t>
            </a:fld>
            <a:endParaRPr lang="en-US" noProof="0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16211875-350E-32BF-8C21-EAA0449B3DF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/>
              <a:t>Old vs New (upgrade colored area)</a:t>
            </a:r>
            <a:endParaRPr lang="da-DK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73C4DFAD-B5C4-4FC3-AF88-4C68A1E3E3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VP400 Summary</a:t>
            </a:r>
          </a:p>
        </p:txBody>
      </p:sp>
      <p:graphicFrame>
        <p:nvGraphicFramePr>
          <p:cNvPr id="14" name="Table 3">
            <a:extLst>
              <a:ext uri="{FF2B5EF4-FFF2-40B4-BE49-F238E27FC236}">
                <a16:creationId xmlns:a16="http://schemas.microsoft.com/office/drawing/2014/main" id="{33F5072D-1ED8-03BA-E2B5-28D2BC24305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35434310"/>
              </p:ext>
            </p:extLst>
          </p:nvPr>
        </p:nvGraphicFramePr>
        <p:xfrm>
          <a:off x="475521" y="1791511"/>
          <a:ext cx="5220000" cy="3937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276000">
                  <a:extLst>
                    <a:ext uri="{9D8B030D-6E8A-4147-A177-3AD203B41FA5}">
                      <a16:colId xmlns:a16="http://schemas.microsoft.com/office/drawing/2014/main" val="1602329277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1287508165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1208162191"/>
                    </a:ext>
                  </a:extLst>
                </a:gridCol>
              </a:tblGrid>
              <a:tr h="216000">
                <a:tc>
                  <a:txBody>
                    <a:bodyPr/>
                    <a:lstStyle/>
                    <a:p>
                      <a:pPr algn="l"/>
                      <a:r>
                        <a:rPr lang="en-GB" sz="1000" b="0">
                          <a:solidFill>
                            <a:schemeClr val="tx1"/>
                          </a:solidFill>
                          <a:latin typeface="+mj-lt"/>
                        </a:rPr>
                        <a:t>Feature</a:t>
                      </a: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00" b="0">
                          <a:solidFill>
                            <a:schemeClr val="tx1"/>
                          </a:solidFill>
                          <a:latin typeface="+mj-lt"/>
                        </a:rPr>
                        <a:t>VP600</a:t>
                      </a: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00" b="0">
                          <a:solidFill>
                            <a:schemeClr val="tx1"/>
                          </a:solidFill>
                          <a:latin typeface="+mj-lt"/>
                        </a:rPr>
                        <a:t>VP400 (New)</a:t>
                      </a: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91725890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 rtl="0"/>
                      <a:r>
                        <a:rPr lang="en-GB" sz="900">
                          <a:solidFill>
                            <a:schemeClr val="tx1"/>
                          </a:solidFill>
                        </a:rPr>
                        <a:t>Machine bumper</a:t>
                      </a: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" panose="02000000000000000000" pitchFamily="2" charset="0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en-GB" sz="9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" panose="02000000000000000000" pitchFamily="2" charset="0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en-GB" sz="9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27027331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 rtl="0"/>
                      <a:r>
                        <a:rPr lang="en-GB" sz="900">
                          <a:solidFill>
                            <a:schemeClr val="tx1"/>
                          </a:solidFill>
                        </a:rPr>
                        <a:t>Foot operated power switch</a:t>
                      </a: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" panose="02000000000000000000" pitchFamily="2" charset="0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en-GB" sz="9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" panose="02000000000000000000" pitchFamily="2" charset="0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en-GB" sz="9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581640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 rtl="0"/>
                      <a:r>
                        <a:rPr lang="en-GB" sz="900">
                          <a:solidFill>
                            <a:schemeClr val="tx1"/>
                          </a:solidFill>
                        </a:rPr>
                        <a:t>Tube parking position</a:t>
                      </a: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" panose="02000000000000000000" pitchFamily="2" charset="0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en-GB" sz="9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" panose="02000000000000000000" pitchFamily="2" charset="0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en-GB" sz="9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88965416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 rtl="0"/>
                      <a:r>
                        <a:rPr lang="en-GB" sz="900">
                          <a:solidFill>
                            <a:schemeClr val="tx1"/>
                          </a:solidFill>
                        </a:rPr>
                        <a:t>HEPA filter</a:t>
                      </a: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" panose="02000000000000000000" pitchFamily="2" charset="0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en-GB" sz="9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" panose="02000000000000000000" pitchFamily="2" charset="0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en-GB" sz="9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72018583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 rtl="0"/>
                      <a:r>
                        <a:rPr lang="en-GB" sz="900">
                          <a:solidFill>
                            <a:schemeClr val="tx1"/>
                          </a:solidFill>
                        </a:rPr>
                        <a:t>Accessories storage</a:t>
                      </a: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" panose="02000000000000000000" pitchFamily="2" charset="0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en-GB" sz="9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" panose="02000000000000000000" pitchFamily="2" charset="0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en-GB" sz="9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19168444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 rtl="0"/>
                      <a:endParaRPr lang="en-GB" sz="900">
                        <a:solidFill>
                          <a:schemeClr val="tx1"/>
                        </a:solidFill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900">
                        <a:solidFill>
                          <a:schemeClr val="tx1"/>
                        </a:solidFill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9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09593050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 rtl="0"/>
                      <a:r>
                        <a:rPr lang="en-GB" sz="900">
                          <a:solidFill>
                            <a:schemeClr val="tx1"/>
                          </a:solidFill>
                        </a:rPr>
                        <a:t>Highlighted touchpoints</a:t>
                      </a: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900">
                        <a:solidFill>
                          <a:schemeClr val="tx1"/>
                        </a:solidFill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" panose="02000000000000000000" pitchFamily="2" charset="0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en-GB" sz="9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03646940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/>
                      <a:r>
                        <a:rPr lang="en-GB" sz="900">
                          <a:solidFill>
                            <a:schemeClr val="tx1"/>
                          </a:solidFill>
                        </a:rPr>
                        <a:t>No-tool HEPA Filter access</a:t>
                      </a: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900">
                        <a:solidFill>
                          <a:schemeClr val="tx1"/>
                        </a:solidFill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" panose="02000000000000000000" pitchFamily="2" charset="0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en-GB" sz="9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1460644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/>
                      <a:r>
                        <a:rPr lang="en-GB" sz="900">
                          <a:solidFill>
                            <a:schemeClr val="tx1"/>
                          </a:solidFill>
                        </a:rPr>
                        <a:t>Protected lock mechanism</a:t>
                      </a: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900">
                        <a:solidFill>
                          <a:schemeClr val="tx1"/>
                        </a:solidFill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" panose="02000000000000000000" pitchFamily="2" charset="0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en-GB" sz="9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5060503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 rtl="0"/>
                      <a:r>
                        <a:rPr lang="en-GB" sz="900">
                          <a:solidFill>
                            <a:schemeClr val="tx1"/>
                          </a:solidFill>
                        </a:rPr>
                        <a:t>Detachable cord standard</a:t>
                      </a: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900">
                        <a:solidFill>
                          <a:schemeClr val="tx1"/>
                        </a:solidFill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" panose="02000000000000000000" pitchFamily="2" charset="0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en-GB" sz="9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52581960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 rtl="0"/>
                      <a:r>
                        <a:rPr lang="en-GB" sz="900">
                          <a:solidFill>
                            <a:schemeClr val="tx1"/>
                          </a:solidFill>
                        </a:rPr>
                        <a:t>Reliable and durable rewind system</a:t>
                      </a: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900">
                        <a:solidFill>
                          <a:schemeClr val="tx1"/>
                        </a:solidFill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" panose="02000000000000000000" pitchFamily="2" charset="0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en-GB" sz="9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540955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 rtl="0"/>
                      <a:r>
                        <a:rPr lang="en-GB" sz="900">
                          <a:solidFill>
                            <a:schemeClr val="tx1"/>
                          </a:solidFill>
                        </a:rPr>
                        <a:t>Lightweight &amp; Compact footprint</a:t>
                      </a: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900">
                        <a:solidFill>
                          <a:schemeClr val="tx1"/>
                        </a:solidFill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" panose="02000000000000000000" pitchFamily="2" charset="0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en-GB" sz="9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03934877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 rtl="0"/>
                      <a:r>
                        <a:rPr lang="en-GB" sz="900">
                          <a:solidFill>
                            <a:schemeClr val="tx1"/>
                          </a:solidFill>
                        </a:rPr>
                        <a:t>Ergonomic foldable handle</a:t>
                      </a: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900">
                        <a:solidFill>
                          <a:schemeClr val="tx1"/>
                        </a:solidFill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" panose="02000000000000000000" pitchFamily="2" charset="0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en-GB" sz="9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5612157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 rtl="0"/>
                      <a:r>
                        <a:rPr lang="en-GB" sz="900">
                          <a:solidFill>
                            <a:schemeClr val="tx1"/>
                          </a:solidFill>
                        </a:rPr>
                        <a:t>Improved accessory storage</a:t>
                      </a: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900">
                        <a:solidFill>
                          <a:schemeClr val="tx1"/>
                        </a:solidFill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" panose="02000000000000000000" pitchFamily="2" charset="0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en-GB" sz="9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4507314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 rtl="0"/>
                      <a:r>
                        <a:rPr lang="en-GB" sz="900">
                          <a:solidFill>
                            <a:schemeClr val="tx1"/>
                          </a:solidFill>
                        </a:rPr>
                        <a:t>Cord hook for quick park/shift of location</a:t>
                      </a: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900">
                        <a:solidFill>
                          <a:schemeClr val="tx1"/>
                        </a:solidFill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" panose="02000000000000000000" pitchFamily="2" charset="0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en-GB" sz="9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9375585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669181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66C85F93-3220-05A7-2E0C-86CCF797AF0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6C85F93-3220-05A7-2E0C-86CCF797AF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1F6F35A-7257-A764-570F-24AE4544FFDA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 wrap="square" anchor="ctr">
            <a:normAutofit/>
          </a:bodyPr>
          <a:lstStyle/>
          <a:p>
            <a:pPr algn="l">
              <a:spcAft>
                <a:spcPts val="600"/>
              </a:spcAft>
            </a:pPr>
            <a:r>
              <a:rPr lang="en-US"/>
              <a:t>COMPANY 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5976AF4-76DB-9CF0-A0D1-7EFA6FC84B0A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 wrap="square" anchor="ctr">
            <a:normAutofit/>
          </a:bodyPr>
          <a:lstStyle/>
          <a:p>
            <a:pPr>
              <a:spcAft>
                <a:spcPts val="600"/>
              </a:spcAft>
            </a:pPr>
            <a:fld id="{6C385236-B7BA-4938-9EA6-6DEC8CA653D7}" type="slidenum">
              <a:rPr lang="en-US" smtClean="0"/>
              <a:pPr>
                <a:spcAft>
                  <a:spcPts val="600"/>
                </a:spcAft>
              </a:pPr>
              <a:t>17</a:t>
            </a:fld>
            <a:endParaRPr lang="en-US"/>
          </a:p>
        </p:txBody>
      </p:sp>
      <p:sp>
        <p:nvSpPr>
          <p:cNvPr id="34" name="Text Placeholder 33">
            <a:extLst>
              <a:ext uri="{FF2B5EF4-FFF2-40B4-BE49-F238E27FC236}">
                <a16:creationId xmlns:a16="http://schemas.microsoft.com/office/drawing/2014/main" id="{B3CA8A8F-46BB-82F4-9AF2-DA239F1C451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/>
              <a:t>Technical specification of range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9B9DB6AC-CAB3-0E0C-5ECF-D4B9A8ABE8F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t">
            <a:noAutofit/>
          </a:bodyPr>
          <a:lstStyle/>
          <a:p>
            <a:r>
              <a:rPr lang="en-US"/>
              <a:t>VP300 Technical spec</a:t>
            </a:r>
          </a:p>
        </p:txBody>
      </p:sp>
      <p:graphicFrame>
        <p:nvGraphicFramePr>
          <p:cNvPr id="17" name="Table 16">
            <a:extLst>
              <a:ext uri="{FF2B5EF4-FFF2-40B4-BE49-F238E27FC236}">
                <a16:creationId xmlns:a16="http://schemas.microsoft.com/office/drawing/2014/main" id="{B6230B9C-D8B1-6D3D-50D0-0486AC18AE0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41787056"/>
              </p:ext>
            </p:extLst>
          </p:nvPr>
        </p:nvGraphicFramePr>
        <p:xfrm>
          <a:off x="4373444" y="523875"/>
          <a:ext cx="4736275" cy="587772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506874">
                  <a:extLst>
                    <a:ext uri="{9D8B030D-6E8A-4147-A177-3AD203B41FA5}">
                      <a16:colId xmlns:a16="http://schemas.microsoft.com/office/drawing/2014/main" val="1447464768"/>
                    </a:ext>
                  </a:extLst>
                </a:gridCol>
                <a:gridCol w="664797">
                  <a:extLst>
                    <a:ext uri="{9D8B030D-6E8A-4147-A177-3AD203B41FA5}">
                      <a16:colId xmlns:a16="http://schemas.microsoft.com/office/drawing/2014/main" val="2159894705"/>
                    </a:ext>
                  </a:extLst>
                </a:gridCol>
                <a:gridCol w="664797">
                  <a:extLst>
                    <a:ext uri="{9D8B030D-6E8A-4147-A177-3AD203B41FA5}">
                      <a16:colId xmlns:a16="http://schemas.microsoft.com/office/drawing/2014/main" val="2214318731"/>
                    </a:ext>
                  </a:extLst>
                </a:gridCol>
                <a:gridCol w="88264">
                  <a:extLst>
                    <a:ext uri="{9D8B030D-6E8A-4147-A177-3AD203B41FA5}">
                      <a16:colId xmlns:a16="http://schemas.microsoft.com/office/drawing/2014/main" val="1587782192"/>
                    </a:ext>
                  </a:extLst>
                </a:gridCol>
                <a:gridCol w="576157">
                  <a:extLst>
                    <a:ext uri="{9D8B030D-6E8A-4147-A177-3AD203B41FA5}">
                      <a16:colId xmlns:a16="http://schemas.microsoft.com/office/drawing/2014/main" val="2536747962"/>
                    </a:ext>
                  </a:extLst>
                </a:gridCol>
                <a:gridCol w="576157">
                  <a:extLst>
                    <a:ext uri="{9D8B030D-6E8A-4147-A177-3AD203B41FA5}">
                      <a16:colId xmlns:a16="http://schemas.microsoft.com/office/drawing/2014/main" val="3373029119"/>
                    </a:ext>
                  </a:extLst>
                </a:gridCol>
                <a:gridCol w="576157">
                  <a:extLst>
                    <a:ext uri="{9D8B030D-6E8A-4147-A177-3AD203B41FA5}">
                      <a16:colId xmlns:a16="http://schemas.microsoft.com/office/drawing/2014/main" val="3586489337"/>
                    </a:ext>
                  </a:extLst>
                </a:gridCol>
                <a:gridCol w="83072">
                  <a:extLst>
                    <a:ext uri="{9D8B030D-6E8A-4147-A177-3AD203B41FA5}">
                      <a16:colId xmlns:a16="http://schemas.microsoft.com/office/drawing/2014/main" val="2501792454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0" marR="0" lvl="0" indent="0" algn="l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a-DK" sz="800" b="0" i="0" u="none" strike="noStrike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a-DK" sz="800" b="0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ountry variant</a:t>
                      </a: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1" i="0" u="none" strike="noStrike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da-DK" sz="800" b="1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UK</a:t>
                      </a:r>
                      <a:endParaRPr lang="da-DK" sz="800" b="1" i="0" u="none" strike="noStrike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da-DK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a-DK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1" i="0" u="none" strike="noStrike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362615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endParaRPr lang="en-US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a-DK" sz="7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Item </a:t>
                      </a:r>
                      <a:r>
                        <a:rPr lang="da-DK" sz="700" u="none" strike="noStrike" err="1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number</a:t>
                      </a:r>
                      <a:endParaRPr lang="da-DK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DK" sz="7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07421146</a:t>
                      </a:r>
                      <a:endParaRPr lang="en-US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DK" sz="7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07421147</a:t>
                      </a:r>
                      <a:endParaRPr lang="en-US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DK" sz="7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07421159</a:t>
                      </a:r>
                      <a:endParaRPr lang="en-US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7206905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endParaRPr lang="en-US" sz="7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a-DK" sz="700" u="none" strike="noStrike" err="1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Description</a:t>
                      </a:r>
                      <a:endParaRPr lang="da-DK" sz="7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a-DK" sz="7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Note</a:t>
                      </a:r>
                      <a:endParaRPr lang="da-DK" sz="7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7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da-DK" sz="7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VP300 HEPA </a:t>
                      </a:r>
                      <a:br>
                        <a:rPr lang="da-DK" sz="700" u="none" strike="noStrike">
                          <a:solidFill>
                            <a:srgbClr val="28313F"/>
                          </a:solidFill>
                          <a:effectLst/>
                          <a:latin typeface="+mn-lt"/>
                        </a:rPr>
                      </a:br>
                      <a:r>
                        <a:rPr lang="da-DK" sz="7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C UK</a:t>
                      </a:r>
                      <a:endParaRPr lang="da-DK" sz="7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NL" sz="7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VP300 HEPA ECP S2 UK</a:t>
                      </a:r>
                      <a:endParaRPr lang="nl-NL" sz="7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da-DK" sz="7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VP300 R HEPA EC UK</a:t>
                      </a:r>
                      <a:endParaRPr lang="da-DK" sz="7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7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8598898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da-DK" sz="70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Technical data</a:t>
                      </a:r>
                      <a:endParaRPr lang="da-DK" sz="700" b="1" i="0" u="none" strike="noStrike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7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7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5552647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da-DK" sz="700" u="none" strike="noStrike" err="1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Voltage</a:t>
                      </a:r>
                      <a:r>
                        <a:rPr lang="da-DK" sz="7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/</a:t>
                      </a:r>
                      <a:r>
                        <a:rPr lang="da-DK" sz="700" u="none" strike="noStrike" err="1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Frequency</a:t>
                      </a:r>
                      <a:endParaRPr lang="da-DK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a-DK" sz="7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V/Hz</a:t>
                      </a:r>
                      <a:endParaRPr lang="da-DK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7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20-240/</a:t>
                      </a:r>
                      <a:br>
                        <a:rPr lang="en-US" sz="700" u="none" strike="noStrike">
                          <a:solidFill>
                            <a:srgbClr val="28313F"/>
                          </a:solidFill>
                          <a:effectLst/>
                          <a:latin typeface="+mn-lt"/>
                        </a:rPr>
                      </a:br>
                      <a:r>
                        <a:rPr lang="en-DK" sz="7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0-60</a:t>
                      </a:r>
                      <a:endParaRPr lang="en-US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7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20-240/</a:t>
                      </a:r>
                      <a:br>
                        <a:rPr lang="en-US" sz="700" u="none" strike="noStrike">
                          <a:solidFill>
                            <a:srgbClr val="28313F"/>
                          </a:solidFill>
                          <a:effectLst/>
                          <a:latin typeface="+mn-lt"/>
                        </a:rPr>
                      </a:br>
                      <a:r>
                        <a:rPr lang="en-DK" sz="7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0-60</a:t>
                      </a:r>
                      <a:endParaRPr lang="en-US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7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20-240/</a:t>
                      </a:r>
                      <a:br>
                        <a:rPr lang="en-US" sz="700" u="none" strike="noStrike">
                          <a:solidFill>
                            <a:srgbClr val="28313F"/>
                          </a:solidFill>
                          <a:effectLst/>
                          <a:latin typeface="+mn-lt"/>
                        </a:rPr>
                      </a:br>
                      <a:r>
                        <a:rPr lang="en-DK" sz="7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0-60</a:t>
                      </a:r>
                      <a:endParaRPr lang="en-US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2954993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da-DK" sz="700" u="none" strike="noStrike" err="1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rotection</a:t>
                      </a:r>
                      <a:r>
                        <a:rPr lang="da-DK" sz="7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class / IP </a:t>
                      </a:r>
                      <a:r>
                        <a:rPr lang="da-DK" sz="700" u="none" strike="noStrike" err="1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rotection</a:t>
                      </a:r>
                      <a:endParaRPr lang="da-DK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7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II / IP20</a:t>
                      </a:r>
                      <a:endParaRPr lang="da-DK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7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II / IP20</a:t>
                      </a:r>
                      <a:endParaRPr lang="da-DK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7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II / IP20</a:t>
                      </a:r>
                      <a:endParaRPr lang="da-DK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2849442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da-DK" sz="700" u="none" strike="noStrike" err="1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Rated</a:t>
                      </a:r>
                      <a:r>
                        <a:rPr lang="da-DK" sz="7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Power</a:t>
                      </a:r>
                      <a:endParaRPr lang="da-DK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a-DK" sz="7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W</a:t>
                      </a:r>
                      <a:endParaRPr lang="da-DK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7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700</a:t>
                      </a:r>
                      <a:endParaRPr lang="en-US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7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700</a:t>
                      </a:r>
                      <a:endParaRPr lang="en-US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7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700</a:t>
                      </a:r>
                      <a:endParaRPr lang="en-US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4652499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Suction Power (end of tube)</a:t>
                      </a:r>
                      <a:endParaRPr lang="en-US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a-DK" sz="7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W</a:t>
                      </a:r>
                      <a:endParaRPr lang="da-DK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7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25</a:t>
                      </a:r>
                      <a:endParaRPr lang="en-US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7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25</a:t>
                      </a:r>
                      <a:endParaRPr lang="en-US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7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25</a:t>
                      </a:r>
                      <a:endParaRPr lang="en-US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4813161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da-DK" sz="700" u="none" strike="noStrike" err="1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Airflow</a:t>
                      </a:r>
                      <a:r>
                        <a:rPr lang="da-DK" sz="7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(end of tube)</a:t>
                      </a:r>
                      <a:endParaRPr lang="da-DK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a-DK" sz="7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l/s</a:t>
                      </a:r>
                      <a:endParaRPr lang="da-DK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7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2</a:t>
                      </a:r>
                      <a:endParaRPr lang="en-US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7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2</a:t>
                      </a:r>
                      <a:endParaRPr lang="en-US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7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2</a:t>
                      </a:r>
                      <a:endParaRPr lang="en-US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2635016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da-DK" sz="700" u="none" strike="noStrike" err="1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Vacuum</a:t>
                      </a:r>
                      <a:r>
                        <a:rPr lang="da-DK" sz="7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at </a:t>
                      </a:r>
                      <a:r>
                        <a:rPr lang="da-DK" sz="700" u="none" strike="noStrike" err="1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nozzle</a:t>
                      </a:r>
                      <a:endParaRPr lang="da-DK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a-DK" sz="7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kPa</a:t>
                      </a:r>
                      <a:endParaRPr lang="da-DK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7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2</a:t>
                      </a:r>
                      <a:endParaRPr lang="en-US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7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2</a:t>
                      </a:r>
                      <a:endParaRPr lang="en-US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7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2</a:t>
                      </a:r>
                      <a:endParaRPr lang="en-US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359414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Working sound level @2m </a:t>
                      </a:r>
                      <a:br>
                        <a:rPr lang="en-US" sz="700" u="none" strike="noStrike">
                          <a:solidFill>
                            <a:srgbClr val="28313F"/>
                          </a:solidFill>
                          <a:effectLst/>
                          <a:latin typeface="+mn-lt"/>
                        </a:rPr>
                      </a:br>
                      <a:r>
                        <a:rPr lang="en-US" sz="7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(IEC 60335-2-69)</a:t>
                      </a:r>
                      <a:endParaRPr lang="en-US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a-DK" sz="7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dB(A)</a:t>
                      </a:r>
                      <a:endParaRPr lang="da-DK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Sound pressure level at working position; 2m distance</a:t>
                      </a:r>
                      <a:endParaRPr lang="en-US" sz="700" b="0" i="1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7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1</a:t>
                      </a:r>
                      <a:endParaRPr lang="en-US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7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1</a:t>
                      </a:r>
                      <a:endParaRPr lang="en-US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7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1</a:t>
                      </a:r>
                      <a:endParaRPr lang="en-US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3384343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Sound pressure level @1m </a:t>
                      </a:r>
                      <a:br>
                        <a:rPr lang="en-US" sz="700" u="none" strike="noStrike">
                          <a:solidFill>
                            <a:srgbClr val="28313F"/>
                          </a:solidFill>
                          <a:effectLst/>
                          <a:latin typeface="+mn-lt"/>
                        </a:rPr>
                      </a:br>
                      <a:r>
                        <a:rPr lang="en-US" sz="7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(IEC 60335-2-69)</a:t>
                      </a:r>
                      <a:endParaRPr lang="en-US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a-DK" sz="7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dB(A)</a:t>
                      </a:r>
                      <a:endParaRPr lang="da-DK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7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6</a:t>
                      </a:r>
                      <a:endParaRPr lang="en-US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7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6</a:t>
                      </a:r>
                      <a:endParaRPr lang="en-US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7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6</a:t>
                      </a:r>
                      <a:endParaRPr lang="en-US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4043853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da-DK" sz="700" u="none" strike="noStrike" err="1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Dust</a:t>
                      </a:r>
                      <a:r>
                        <a:rPr lang="da-DK" sz="7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bag </a:t>
                      </a:r>
                      <a:r>
                        <a:rPr lang="da-DK" sz="700" u="none" strike="noStrike" err="1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capacity</a:t>
                      </a:r>
                      <a:endParaRPr lang="da-DK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a-DK" sz="7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L</a:t>
                      </a:r>
                      <a:endParaRPr lang="da-DK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7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0</a:t>
                      </a:r>
                      <a:endParaRPr lang="en-US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7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0</a:t>
                      </a:r>
                      <a:endParaRPr lang="en-US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7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0</a:t>
                      </a:r>
                      <a:endParaRPr lang="en-US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5269606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da-DK" sz="7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Main filter type</a:t>
                      </a:r>
                      <a:endParaRPr lang="da-DK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7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HEPA 13</a:t>
                      </a:r>
                      <a:endParaRPr lang="da-DK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7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HEPA 13</a:t>
                      </a:r>
                      <a:endParaRPr lang="da-DK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7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HEPA 13</a:t>
                      </a:r>
                      <a:endParaRPr lang="da-DK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1382742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da-DK" sz="7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Main filter </a:t>
                      </a:r>
                      <a:r>
                        <a:rPr lang="da-DK" sz="700" u="none" strike="noStrike" err="1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area</a:t>
                      </a:r>
                      <a:endParaRPr lang="da-DK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a-DK" sz="7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cm²</a:t>
                      </a:r>
                      <a:endParaRPr lang="da-DK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7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400</a:t>
                      </a:r>
                      <a:endParaRPr lang="en-US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7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400</a:t>
                      </a:r>
                      <a:endParaRPr lang="en-US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7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400</a:t>
                      </a:r>
                      <a:endParaRPr lang="en-US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533313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da-DK" sz="700" u="none" strike="noStrike" err="1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Cord</a:t>
                      </a:r>
                      <a:r>
                        <a:rPr lang="da-DK" sz="7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da-DK" sz="700" u="none" strike="noStrike" err="1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length</a:t>
                      </a:r>
                      <a:endParaRPr lang="da-DK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a-DK" sz="7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m</a:t>
                      </a:r>
                      <a:endParaRPr lang="da-DK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7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0</a:t>
                      </a:r>
                      <a:endParaRPr lang="en-US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7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0</a:t>
                      </a:r>
                      <a:endParaRPr lang="en-US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7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0</a:t>
                      </a:r>
                      <a:endParaRPr lang="en-US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5529599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da-DK" sz="700" u="none" strike="noStrike" err="1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Working</a:t>
                      </a:r>
                      <a:r>
                        <a:rPr lang="da-DK" sz="7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radius</a:t>
                      </a:r>
                      <a:endParaRPr lang="da-DK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a-DK" sz="7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m</a:t>
                      </a:r>
                      <a:endParaRPr lang="da-DK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7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2,5</a:t>
                      </a:r>
                      <a:endParaRPr lang="en-US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7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2,5</a:t>
                      </a:r>
                      <a:endParaRPr lang="en-US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7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2,5</a:t>
                      </a:r>
                      <a:endParaRPr lang="en-US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0537845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da-DK" sz="700" u="none" strike="noStrike" err="1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Weight</a:t>
                      </a:r>
                      <a:r>
                        <a:rPr lang="da-DK" sz="7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(</a:t>
                      </a:r>
                      <a:r>
                        <a:rPr lang="da-DK" sz="700" u="none" strike="noStrike" err="1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machine</a:t>
                      </a:r>
                      <a:r>
                        <a:rPr lang="da-DK" sz="7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)</a:t>
                      </a:r>
                      <a:endParaRPr lang="da-DK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a-DK" sz="7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Kg</a:t>
                      </a:r>
                      <a:endParaRPr lang="da-DK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a-DK" sz="700" u="none" strike="noStrike" err="1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machine</a:t>
                      </a:r>
                      <a:r>
                        <a:rPr lang="da-DK" sz="7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da-DK" sz="700" u="none" strike="noStrike" err="1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only</a:t>
                      </a:r>
                      <a:endParaRPr lang="da-DK" sz="700" b="0" i="1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7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4,5</a:t>
                      </a:r>
                      <a:endParaRPr lang="en-US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7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4,5</a:t>
                      </a:r>
                      <a:endParaRPr lang="en-US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7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4,5</a:t>
                      </a:r>
                      <a:endParaRPr lang="en-US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4728140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da-DK" sz="7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Dimensions (</a:t>
                      </a:r>
                      <a:r>
                        <a:rPr lang="da-DK" sz="700" u="none" strike="noStrike" err="1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LxWxH</a:t>
                      </a:r>
                      <a:r>
                        <a:rPr lang="da-DK" sz="7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)</a:t>
                      </a:r>
                      <a:endParaRPr lang="da-DK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a-DK" sz="7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mm</a:t>
                      </a:r>
                      <a:endParaRPr lang="da-DK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7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98x340x395</a:t>
                      </a:r>
                      <a:endParaRPr lang="da-DK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7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98x340x395</a:t>
                      </a:r>
                      <a:endParaRPr lang="da-DK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7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98x340x395</a:t>
                      </a:r>
                      <a:endParaRPr lang="da-DK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4821904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endParaRPr lang="en-US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8207512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da-DK" sz="70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Features</a:t>
                      </a:r>
                      <a:endParaRPr lang="da-DK" sz="700" b="1" i="0" u="none" strike="noStrike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7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7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8336492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da-DK" sz="700" u="none" strike="noStrike" err="1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Detachable</a:t>
                      </a:r>
                      <a:r>
                        <a:rPr lang="da-DK" sz="7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da-DK" sz="700" u="none" strike="noStrike" err="1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cord</a:t>
                      </a:r>
                      <a:endParaRPr lang="da-DK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7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7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7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Roboto"/>
                          <a:cs typeface="+mn-cs"/>
                        </a:rPr>
                        <a:t>•</a:t>
                      </a: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7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Roboto"/>
                          <a:cs typeface="+mn-cs"/>
                        </a:rPr>
                        <a:t>•</a:t>
                      </a: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7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Roboto"/>
                          <a:cs typeface="+mn-cs"/>
                        </a:rPr>
                        <a:t>•</a:t>
                      </a: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8934420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da-DK" sz="7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HEPA Filtration</a:t>
                      </a:r>
                      <a:endParaRPr lang="da-DK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7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7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7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Roboto"/>
                          <a:cs typeface="+mn-cs"/>
                        </a:rPr>
                        <a:t>•</a:t>
                      </a: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7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Roboto"/>
                          <a:cs typeface="+mn-cs"/>
                        </a:rPr>
                        <a:t>•</a:t>
                      </a: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7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Roboto"/>
                          <a:cs typeface="+mn-cs"/>
                        </a:rPr>
                        <a:t>•</a:t>
                      </a: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1885345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da-DK" sz="700" u="none" strike="noStrike" err="1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Recycled</a:t>
                      </a:r>
                      <a:r>
                        <a:rPr lang="da-DK" sz="7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da-DK" sz="700" u="none" strike="noStrike" err="1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material</a:t>
                      </a:r>
                      <a:endParaRPr lang="da-DK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7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7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7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  <a:ea typeface="Roboto"/>
                        </a:rPr>
                        <a:t>•</a:t>
                      </a:r>
                      <a:endParaRPr lang="da-DK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  <a:ea typeface="Roboto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3744325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da-DK" sz="7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Durable </a:t>
                      </a:r>
                      <a:r>
                        <a:rPr lang="da-DK" sz="700" u="none" strike="noStrike" err="1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rewind</a:t>
                      </a:r>
                      <a:r>
                        <a:rPr lang="da-DK" sz="7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system</a:t>
                      </a:r>
                      <a:endParaRPr lang="da-DK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7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7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157190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da-DK" sz="700" u="none" strike="noStrike" err="1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Silent</a:t>
                      </a:r>
                      <a:r>
                        <a:rPr lang="da-DK" sz="7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mode</a:t>
                      </a:r>
                      <a:endParaRPr lang="da-DK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a-DK" sz="7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(Dual speed)</a:t>
                      </a:r>
                      <a:endParaRPr lang="da-DK" sz="700" b="0" i="1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7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  <a:ea typeface="Roboto"/>
                        </a:rPr>
                        <a:t>•</a:t>
                      </a:r>
                      <a:endParaRPr lang="da-DK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  <a:ea typeface="Roboto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4918297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da-DK" sz="7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Dual </a:t>
                      </a:r>
                      <a:r>
                        <a:rPr lang="da-DK" sz="700" u="none" strike="noStrike" err="1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cord</a:t>
                      </a:r>
                      <a:r>
                        <a:rPr lang="da-DK" sz="7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da-DK" sz="700" u="none" strike="noStrike" err="1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storage</a:t>
                      </a:r>
                      <a:endParaRPr lang="da-DK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7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7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2096170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da-DK" sz="700" u="none" strike="noStrike" err="1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Triple</a:t>
                      </a:r>
                      <a:r>
                        <a:rPr lang="da-DK" sz="7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da-DK" sz="700" u="none" strike="noStrike" err="1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cord</a:t>
                      </a:r>
                      <a:r>
                        <a:rPr lang="da-DK" sz="7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da-DK" sz="700" u="none" strike="noStrike" err="1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storage</a:t>
                      </a:r>
                      <a:endParaRPr lang="da-DK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7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7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7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Roboto"/>
                          <a:cs typeface="+mn-cs"/>
                        </a:rPr>
                        <a:t>•</a:t>
                      </a: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7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Roboto"/>
                          <a:cs typeface="+mn-cs"/>
                        </a:rPr>
                        <a:t>•</a:t>
                      </a: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7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Roboto"/>
                          <a:cs typeface="+mn-cs"/>
                        </a:rPr>
                        <a:t>•</a:t>
                      </a:r>
                      <a:endParaRPr kumimoji="0" lang="da-DK" sz="7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638801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da-DK" sz="7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Tube </a:t>
                      </a:r>
                      <a:r>
                        <a:rPr lang="da-DK" sz="700" u="none" strike="noStrike" err="1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arking</a:t>
                      </a:r>
                      <a:endParaRPr lang="da-DK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7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7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7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Roboto"/>
                          <a:cs typeface="+mn-cs"/>
                        </a:rPr>
                        <a:t>•</a:t>
                      </a: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7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Roboto"/>
                          <a:cs typeface="+mn-cs"/>
                        </a:rPr>
                        <a:t>•</a:t>
                      </a: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7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Roboto"/>
                          <a:cs typeface="+mn-cs"/>
                        </a:rPr>
                        <a:t>•</a:t>
                      </a: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7112415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da-DK" sz="7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Tool </a:t>
                      </a:r>
                      <a:r>
                        <a:rPr lang="da-DK" sz="700" u="none" strike="noStrike" err="1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storage</a:t>
                      </a:r>
                      <a:endParaRPr lang="da-DK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7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7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7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Roboto"/>
                          <a:cs typeface="+mn-cs"/>
                        </a:rPr>
                        <a:t>•</a:t>
                      </a: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7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Roboto"/>
                          <a:cs typeface="+mn-cs"/>
                        </a:rPr>
                        <a:t>•</a:t>
                      </a: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7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Roboto"/>
                          <a:cs typeface="+mn-cs"/>
                        </a:rPr>
                        <a:t>•</a:t>
                      </a: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0735706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da-DK" sz="700" u="none" strike="noStrike" err="1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Ergonomic</a:t>
                      </a:r>
                      <a:r>
                        <a:rPr lang="da-DK" sz="7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handle</a:t>
                      </a:r>
                      <a:endParaRPr lang="da-DK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7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7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7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Roboto"/>
                          <a:cs typeface="+mn-cs"/>
                        </a:rPr>
                        <a:t>•</a:t>
                      </a: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7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Roboto"/>
                          <a:cs typeface="+mn-cs"/>
                        </a:rPr>
                        <a:t>•</a:t>
                      </a: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7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Roboto"/>
                          <a:cs typeface="+mn-cs"/>
                        </a:rPr>
                        <a:t>•</a:t>
                      </a: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3366058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da-DK" sz="7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Ergo </a:t>
                      </a:r>
                      <a:r>
                        <a:rPr lang="da-DK" sz="700" u="none" strike="noStrike" err="1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bent</a:t>
                      </a:r>
                      <a:r>
                        <a:rPr lang="da-DK" sz="7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-end</a:t>
                      </a:r>
                      <a:endParaRPr lang="da-DK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7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7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7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  <a:ea typeface="Roboto"/>
                        </a:rPr>
                        <a:t>•</a:t>
                      </a:r>
                      <a:endParaRPr lang="da-DK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  <a:ea typeface="Roboto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7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Roboto"/>
                          <a:cs typeface="+mn-cs"/>
                        </a:rPr>
                        <a:t>•</a:t>
                      </a:r>
                      <a:endParaRPr kumimoji="0" lang="da-DK" sz="7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7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  <a:ea typeface="Roboto"/>
                        </a:rPr>
                        <a:t>•</a:t>
                      </a:r>
                      <a:endParaRPr lang="da-DK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  <a:ea typeface="Roboto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6743742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da-DK" sz="7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Ergo+ </a:t>
                      </a:r>
                      <a:r>
                        <a:rPr lang="da-DK" sz="700" u="none" strike="noStrike" err="1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bent</a:t>
                      </a:r>
                      <a:r>
                        <a:rPr lang="da-DK" sz="7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-end</a:t>
                      </a:r>
                      <a:endParaRPr lang="da-DK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7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a-DK" sz="7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k/</a:t>
                      </a:r>
                      <a:r>
                        <a:rPr lang="da-DK" sz="700" u="none" strike="noStrike" err="1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soft</a:t>
                      </a:r>
                      <a:r>
                        <a:rPr lang="da-DK" sz="7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da-DK" sz="700" u="none" strike="noStrike" err="1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overmold</a:t>
                      </a:r>
                      <a:endParaRPr lang="da-DK" sz="700" b="0" i="1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7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  <a:ea typeface="Roboto"/>
                        </a:rPr>
                        <a:t>•</a:t>
                      </a:r>
                      <a:endParaRPr lang="da-DK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  <a:ea typeface="Roboto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960155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endParaRPr lang="en-US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877170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da-DK" sz="700" u="none" strike="noStrike" err="1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Dust</a:t>
                      </a:r>
                      <a:r>
                        <a:rPr lang="da-DK" sz="7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bags</a:t>
                      </a:r>
                      <a:endParaRPr lang="da-DK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7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-P</a:t>
                      </a:r>
                      <a:endParaRPr lang="da-DK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7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-P</a:t>
                      </a:r>
                      <a:endParaRPr lang="da-DK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7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-P</a:t>
                      </a:r>
                      <a:endParaRPr lang="da-DK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92876920"/>
                  </a:ext>
                </a:extLst>
              </a:tr>
            </a:tbl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0FD1229E-2298-202A-FF76-EBEFBA4CDD30}"/>
              </a:ext>
            </a:extLst>
          </p:cNvPr>
          <p:cNvSpPr txBox="1"/>
          <p:nvPr/>
        </p:nvSpPr>
        <p:spPr>
          <a:xfrm>
            <a:off x="475520" y="6301954"/>
            <a:ext cx="3276600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DK" sz="800"/>
              <a:t>*C</a:t>
            </a:r>
            <a:r>
              <a:rPr lang="en-GB" sz="800">
                <a:effectLst/>
              </a:rPr>
              <a:t>o-branded/private label models not included in sales presentation</a:t>
            </a:r>
            <a:endParaRPr lang="en-DK" sz="800"/>
          </a:p>
        </p:txBody>
      </p:sp>
    </p:spTree>
    <p:extLst>
      <p:ext uri="{BB962C8B-B14F-4D97-AF65-F5344CB8AC3E}">
        <p14:creationId xmlns:p14="http://schemas.microsoft.com/office/powerpoint/2010/main" val="38891875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66C85F93-3220-05A7-2E0C-86CCF797AF0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6C85F93-3220-05A7-2E0C-86CCF797AF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1F6F35A-7257-A764-570F-24AE4544FFDA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 wrap="square" anchor="ctr">
            <a:normAutofit/>
          </a:bodyPr>
          <a:lstStyle/>
          <a:p>
            <a:pPr algn="l">
              <a:spcAft>
                <a:spcPts val="600"/>
              </a:spcAft>
            </a:pPr>
            <a:r>
              <a:rPr lang="en-US"/>
              <a:t>COMPANY 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5976AF4-76DB-9CF0-A0D1-7EFA6FC84B0A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 wrap="square" anchor="ctr">
            <a:normAutofit/>
          </a:bodyPr>
          <a:lstStyle/>
          <a:p>
            <a:pPr>
              <a:spcAft>
                <a:spcPts val="600"/>
              </a:spcAft>
            </a:pPr>
            <a:fld id="{6C385236-B7BA-4938-9EA6-6DEC8CA653D7}" type="slidenum">
              <a:rPr lang="en-US" smtClean="0"/>
              <a:pPr>
                <a:spcAft>
                  <a:spcPts val="600"/>
                </a:spcAft>
              </a:pPr>
              <a:t>18</a:t>
            </a:fld>
            <a:endParaRPr lang="en-US"/>
          </a:p>
        </p:txBody>
      </p:sp>
      <p:sp>
        <p:nvSpPr>
          <p:cNvPr id="34" name="Text Placeholder 33">
            <a:extLst>
              <a:ext uri="{FF2B5EF4-FFF2-40B4-BE49-F238E27FC236}">
                <a16:creationId xmlns:a16="http://schemas.microsoft.com/office/drawing/2014/main" id="{B3CA8A8F-46BB-82F4-9AF2-DA239F1C451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/>
              <a:t>How are the machines equipped?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9B9DB6AC-CAB3-0E0C-5ECF-D4B9A8ABE8F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t">
            <a:noAutofit/>
          </a:bodyPr>
          <a:lstStyle/>
          <a:p>
            <a:r>
              <a:rPr lang="en-US"/>
              <a:t>VP300 Configuration</a:t>
            </a:r>
          </a:p>
        </p:txBody>
      </p:sp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AD1D3B1C-1C61-7BCA-9BEE-A3B815A3EEF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31151883"/>
              </p:ext>
            </p:extLst>
          </p:nvPr>
        </p:nvGraphicFramePr>
        <p:xfrm>
          <a:off x="4437915" y="604238"/>
          <a:ext cx="5269958" cy="568644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674711">
                  <a:extLst>
                    <a:ext uri="{9D8B030D-6E8A-4147-A177-3AD203B41FA5}">
                      <a16:colId xmlns:a16="http://schemas.microsoft.com/office/drawing/2014/main" val="2512805307"/>
                    </a:ext>
                  </a:extLst>
                </a:gridCol>
                <a:gridCol w="738843">
                  <a:extLst>
                    <a:ext uri="{9D8B030D-6E8A-4147-A177-3AD203B41FA5}">
                      <a16:colId xmlns:a16="http://schemas.microsoft.com/office/drawing/2014/main" val="729922073"/>
                    </a:ext>
                  </a:extLst>
                </a:gridCol>
                <a:gridCol w="738843">
                  <a:extLst>
                    <a:ext uri="{9D8B030D-6E8A-4147-A177-3AD203B41FA5}">
                      <a16:colId xmlns:a16="http://schemas.microsoft.com/office/drawing/2014/main" val="725341614"/>
                    </a:ext>
                  </a:extLst>
                </a:gridCol>
                <a:gridCol w="98060">
                  <a:extLst>
                    <a:ext uri="{9D8B030D-6E8A-4147-A177-3AD203B41FA5}">
                      <a16:colId xmlns:a16="http://schemas.microsoft.com/office/drawing/2014/main" val="1249632896"/>
                    </a:ext>
                  </a:extLst>
                </a:gridCol>
                <a:gridCol w="640330">
                  <a:extLst>
                    <a:ext uri="{9D8B030D-6E8A-4147-A177-3AD203B41FA5}">
                      <a16:colId xmlns:a16="http://schemas.microsoft.com/office/drawing/2014/main" val="1773449690"/>
                    </a:ext>
                  </a:extLst>
                </a:gridCol>
                <a:gridCol w="640330">
                  <a:extLst>
                    <a:ext uri="{9D8B030D-6E8A-4147-A177-3AD203B41FA5}">
                      <a16:colId xmlns:a16="http://schemas.microsoft.com/office/drawing/2014/main" val="1930302023"/>
                    </a:ext>
                  </a:extLst>
                </a:gridCol>
                <a:gridCol w="640330">
                  <a:extLst>
                    <a:ext uri="{9D8B030D-6E8A-4147-A177-3AD203B41FA5}">
                      <a16:colId xmlns:a16="http://schemas.microsoft.com/office/drawing/2014/main" val="1750084186"/>
                    </a:ext>
                  </a:extLst>
                </a:gridCol>
                <a:gridCol w="98511">
                  <a:extLst>
                    <a:ext uri="{9D8B030D-6E8A-4147-A177-3AD203B41FA5}">
                      <a16:colId xmlns:a16="http://schemas.microsoft.com/office/drawing/2014/main" val="3510368717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l" fontAlgn="b"/>
                      <a:endParaRPr lang="da-DK" sz="800" b="1" i="0" u="none" strike="noStrike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a-DK" sz="80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ountry variant</a:t>
                      </a:r>
                      <a:endParaRPr lang="da-DK" sz="800" b="0" i="0" u="none" strike="noStrike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1" i="0" u="none" strike="noStrike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da-DK" sz="800" b="1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UK</a:t>
                      </a:r>
                      <a:endParaRPr lang="da-DK" sz="800" b="1" i="0" u="none" strike="noStrike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da-DK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a-DK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1" i="0" u="none" strike="noStrike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862361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a-DK" sz="700" u="none" strike="noStrike">
                          <a:effectLst/>
                          <a:latin typeface="+mn-lt"/>
                        </a:rPr>
                        <a:t>Item </a:t>
                      </a:r>
                      <a:r>
                        <a:rPr lang="da-DK" sz="700" u="none" strike="noStrike" err="1">
                          <a:effectLst/>
                          <a:latin typeface="+mn-lt"/>
                        </a:rPr>
                        <a:t>number</a:t>
                      </a:r>
                      <a:endParaRPr lang="da-DK" sz="7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DK" sz="700" u="none" strike="noStrike">
                          <a:effectLst/>
                          <a:latin typeface="+mn-lt"/>
                        </a:rPr>
                        <a:t>107421146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DK" sz="700" u="none" strike="noStrike">
                          <a:effectLst/>
                          <a:latin typeface="+mn-lt"/>
                        </a:rPr>
                        <a:t>107421147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DK" sz="700" u="none" strike="noStrike">
                          <a:effectLst/>
                          <a:latin typeface="+mn-lt"/>
                        </a:rPr>
                        <a:t>107421159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700" b="0" i="0" u="none" strike="noStrike">
                        <a:solidFill>
                          <a:srgbClr val="EA350F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186798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endParaRPr lang="en-US" sz="7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a-DK" sz="700" u="none" strike="noStrike" err="1">
                          <a:effectLst/>
                          <a:latin typeface="+mn-lt"/>
                        </a:rPr>
                        <a:t>Description</a:t>
                      </a:r>
                      <a:endParaRPr lang="da-DK" sz="7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a-DK" sz="700" u="none" strike="noStrike">
                          <a:effectLst/>
                          <a:latin typeface="+mn-lt"/>
                        </a:rPr>
                        <a:t>Note</a:t>
                      </a:r>
                      <a:endParaRPr lang="da-DK" sz="7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7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da-DK" sz="700" u="none" strike="noStrike">
                          <a:effectLst/>
                          <a:latin typeface="+mn-lt"/>
                        </a:rPr>
                        <a:t>VP300 HEPA </a:t>
                      </a:r>
                      <a:br>
                        <a:rPr lang="da-DK" sz="700" u="none" strike="noStrike">
                          <a:effectLst/>
                          <a:latin typeface="+mn-lt"/>
                        </a:rPr>
                      </a:br>
                      <a:r>
                        <a:rPr lang="da-DK" sz="700" u="none" strike="noStrike">
                          <a:effectLst/>
                          <a:latin typeface="+mn-lt"/>
                        </a:rPr>
                        <a:t>C UK</a:t>
                      </a:r>
                      <a:endParaRPr lang="da-DK" sz="7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NL" sz="700" u="none" strike="noStrike">
                          <a:effectLst/>
                          <a:latin typeface="+mn-lt"/>
                        </a:rPr>
                        <a:t>VP300 HEPA ECP S2 UK</a:t>
                      </a:r>
                      <a:endParaRPr lang="nl-NL" sz="7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da-DK" sz="700" u="none" strike="noStrike">
                          <a:effectLst/>
                          <a:latin typeface="+mn-lt"/>
                        </a:rPr>
                        <a:t>VP300 R HEPA EC UK</a:t>
                      </a:r>
                      <a:endParaRPr lang="da-DK" sz="7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700" b="1" i="0" u="none" strike="noStrike">
                        <a:solidFill>
                          <a:srgbClr val="EA350F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4469232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da-DK" sz="700" u="none" strike="noStrike">
                          <a:effectLst/>
                          <a:latin typeface="+mn-lt"/>
                        </a:rPr>
                        <a:t>Accessories </a:t>
                      </a:r>
                      <a:endParaRPr lang="da-DK" sz="7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700" b="1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700" b="1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6885658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da-DK" sz="700" u="none" strike="noStrike">
                          <a:effectLst/>
                          <a:latin typeface="+mj-lt"/>
                        </a:rPr>
                        <a:t>Tubes</a:t>
                      </a:r>
                      <a:endParaRPr lang="da-DK" sz="700" b="1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700" b="1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700" b="1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529890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  <a:latin typeface="+mn-lt"/>
                        </a:rPr>
                        <a:t>Extension tube steel D32 – Black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700" u="none" strike="noStrike">
                          <a:effectLst/>
                          <a:latin typeface="+mn-lt"/>
                        </a:rPr>
                        <a:t>140 8246 040</a:t>
                      </a:r>
                      <a:endParaRPr lang="en-US" sz="7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700" b="1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7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Roboto"/>
                          <a:cs typeface="+mn-cs"/>
                        </a:rPr>
                        <a:t>•</a:t>
                      </a: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24113393"/>
                  </a:ext>
                </a:extLst>
              </a:tr>
              <a:tr h="105833">
                <a:tc>
                  <a:txBody>
                    <a:bodyPr/>
                    <a:lstStyle/>
                    <a:p>
                      <a:pPr algn="l" fontAlgn="b"/>
                      <a:r>
                        <a:rPr lang="da-DK" sz="700" u="none" strike="noStrike">
                          <a:effectLst/>
                          <a:latin typeface="+mn-lt"/>
                        </a:rPr>
                        <a:t>Extension tube aluminium – Black</a:t>
                      </a:r>
                      <a:endParaRPr lang="da-DK" sz="7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700" u="none" strike="noStrike">
                          <a:effectLst/>
                          <a:latin typeface="+mn-lt"/>
                        </a:rPr>
                        <a:t>107421471</a:t>
                      </a:r>
                      <a:endParaRPr lang="en-US" sz="7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a-DK" sz="700" u="none" strike="noStrike">
                          <a:effectLst/>
                          <a:latin typeface="+mn-lt"/>
                        </a:rPr>
                        <a:t>new PN</a:t>
                      </a:r>
                      <a:endParaRPr lang="da-DK" sz="700" b="0" i="1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7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Roboto"/>
                          <a:cs typeface="+mn-cs"/>
                        </a:rPr>
                        <a:t>•</a:t>
                      </a: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7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Roboto"/>
                          <a:cs typeface="+mn-cs"/>
                        </a:rPr>
                        <a:t>•</a:t>
                      </a: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1958203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  <a:latin typeface="+mn-lt"/>
                        </a:rPr>
                        <a:t>Telescopic tube </a:t>
                      </a:r>
                      <a:r>
                        <a:rPr lang="en-US" sz="700" u="none" strike="noStrike" err="1">
                          <a:effectLst/>
                          <a:latin typeface="+mn-lt"/>
                        </a:rPr>
                        <a:t>aluminium</a:t>
                      </a:r>
                      <a:r>
                        <a:rPr lang="en-US" sz="700" u="none" strike="noStrike">
                          <a:effectLst/>
                          <a:latin typeface="+mn-lt"/>
                        </a:rPr>
                        <a:t> – Black/Blue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700" u="none" strike="noStrike">
                          <a:effectLst/>
                          <a:latin typeface="+mn-lt"/>
                        </a:rPr>
                        <a:t>107421463</a:t>
                      </a:r>
                      <a:endParaRPr lang="en-US" sz="7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a-DK" sz="700" u="none" strike="noStrike">
                          <a:effectLst/>
                          <a:latin typeface="+mn-lt"/>
                        </a:rPr>
                        <a:t>new PN</a:t>
                      </a:r>
                      <a:endParaRPr lang="da-DK" sz="700" b="0" i="1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4543469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  <a:latin typeface="+mn-lt"/>
                        </a:rPr>
                        <a:t>Extension tube steel 450 mm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700" b="0" i="0" u="none" strike="noStrike">
                          <a:effectLst/>
                          <a:latin typeface="+mn-lt"/>
                        </a:rPr>
                        <a:t>140 8246 050</a:t>
                      </a: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a-DK" sz="700" b="0" i="1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400671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da-DK" sz="700" u="none" strike="noStrike">
                          <a:effectLst/>
                          <a:latin typeface="+mj-lt"/>
                        </a:rPr>
                        <a:t>Hose &amp; Bent-end</a:t>
                      </a:r>
                      <a:endParaRPr lang="da-DK" sz="700" b="1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7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7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8095928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da-DK" sz="700" u="none" strike="noStrike">
                          <a:effectLst/>
                          <a:latin typeface="+mn-lt"/>
                        </a:rPr>
                        <a:t>Hose CPL W Bent-end D32</a:t>
                      </a:r>
                      <a:endParaRPr lang="da-DK" sz="7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700" u="none" strike="noStrike">
                          <a:effectLst/>
                          <a:latin typeface="+mn-lt"/>
                        </a:rPr>
                        <a:t>107421450</a:t>
                      </a:r>
                      <a:endParaRPr lang="en-US" sz="7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7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7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Roboto"/>
                          <a:cs typeface="+mn-cs"/>
                        </a:rPr>
                        <a:t>•</a:t>
                      </a: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7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Roboto"/>
                          <a:cs typeface="+mn-cs"/>
                        </a:rPr>
                        <a:t>•</a:t>
                      </a: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3508180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da-DK" sz="700" u="none" strike="noStrike">
                          <a:effectLst/>
                          <a:latin typeface="+mn-lt"/>
                        </a:rPr>
                        <a:t>Hose CPL W Bent-end PREM D32</a:t>
                      </a:r>
                      <a:endParaRPr lang="da-DK" sz="7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700" u="none" strike="noStrike">
                          <a:effectLst/>
                          <a:latin typeface="+mn-lt"/>
                        </a:rPr>
                        <a:t>107421451</a:t>
                      </a:r>
                      <a:endParaRPr lang="en-US" sz="7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7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7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Roboto"/>
                          <a:cs typeface="+mn-cs"/>
                        </a:rPr>
                        <a:t>•</a:t>
                      </a: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6035880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da-DK" sz="700" u="none" strike="noStrike">
                          <a:effectLst/>
                          <a:latin typeface="+mn-lt"/>
                        </a:rPr>
                        <a:t>Bent-end</a:t>
                      </a:r>
                      <a:endParaRPr lang="da-DK" sz="7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700" u="none" strike="noStrike">
                          <a:effectLst/>
                          <a:latin typeface="+mn-lt"/>
                        </a:rPr>
                        <a:t>107421446</a:t>
                      </a:r>
                      <a:endParaRPr lang="en-US" sz="7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7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9983275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da-DK" sz="700" u="none" strike="noStrike">
                          <a:effectLst/>
                          <a:latin typeface="+mn-lt"/>
                        </a:rPr>
                        <a:t>Bent-end PREM</a:t>
                      </a:r>
                      <a:endParaRPr lang="da-DK" sz="7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700" u="none" strike="noStrike">
                          <a:effectLst/>
                          <a:latin typeface="+mn-lt"/>
                        </a:rPr>
                        <a:t>107421445</a:t>
                      </a:r>
                      <a:endParaRPr lang="en-US" sz="7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7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9327329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da-DK" sz="700" u="none" strike="noStrike">
                          <a:effectLst/>
                          <a:latin typeface="+mn-lt"/>
                        </a:rPr>
                        <a:t>Hose W Connectors </a:t>
                      </a:r>
                      <a:endParaRPr lang="da-DK" sz="7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700" u="none" strike="noStrike">
                          <a:effectLst/>
                          <a:latin typeface="+mn-lt"/>
                        </a:rPr>
                        <a:t>107421449</a:t>
                      </a:r>
                      <a:endParaRPr lang="en-US" sz="7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7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5256273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da-DK" sz="700" u="none" strike="noStrike">
                          <a:effectLst/>
                          <a:latin typeface="+mj-lt"/>
                        </a:rPr>
                        <a:t>Floor </a:t>
                      </a:r>
                      <a:r>
                        <a:rPr lang="da-DK" sz="700" u="none" strike="noStrike" err="1">
                          <a:effectLst/>
                          <a:latin typeface="+mj-lt"/>
                        </a:rPr>
                        <a:t>Nozzles</a:t>
                      </a:r>
                      <a:r>
                        <a:rPr lang="da-DK" sz="700" u="none" strike="noStrike">
                          <a:effectLst/>
                          <a:latin typeface="+mj-lt"/>
                        </a:rPr>
                        <a:t> </a:t>
                      </a:r>
                      <a:endParaRPr lang="da-DK" sz="700" b="1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7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7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1022394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da-DK" sz="700" u="none" strike="noStrike" err="1">
                          <a:effectLst/>
                          <a:latin typeface="+mn-lt"/>
                        </a:rPr>
                        <a:t>Multi</a:t>
                      </a:r>
                      <a:r>
                        <a:rPr lang="da-DK" sz="700" u="none" strike="noStrike">
                          <a:effectLst/>
                          <a:latin typeface="+mn-lt"/>
                        </a:rPr>
                        <a:t> </a:t>
                      </a:r>
                      <a:r>
                        <a:rPr lang="da-DK" sz="700" u="none" strike="noStrike" err="1">
                          <a:effectLst/>
                          <a:latin typeface="+mn-lt"/>
                        </a:rPr>
                        <a:t>surface</a:t>
                      </a:r>
                      <a:r>
                        <a:rPr lang="da-DK" sz="700" u="none" strike="noStrike">
                          <a:effectLst/>
                          <a:latin typeface="+mn-lt"/>
                        </a:rPr>
                        <a:t> </a:t>
                      </a:r>
                      <a:r>
                        <a:rPr lang="da-DK" sz="700" u="none" strike="noStrike" err="1">
                          <a:effectLst/>
                          <a:latin typeface="+mn-lt"/>
                        </a:rPr>
                        <a:t>nozzle</a:t>
                      </a:r>
                      <a:endParaRPr lang="da-DK" sz="7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700" u="none" strike="noStrike">
                          <a:effectLst/>
                          <a:latin typeface="+mn-lt"/>
                        </a:rPr>
                        <a:t>140 6700 540</a:t>
                      </a:r>
                      <a:endParaRPr lang="en-US" sz="7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7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3706786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da-DK" sz="700" u="none" strike="noStrike" err="1">
                          <a:effectLst/>
                          <a:latin typeface="+mn-lt"/>
                        </a:rPr>
                        <a:t>Combi</a:t>
                      </a:r>
                      <a:r>
                        <a:rPr lang="da-DK" sz="700" u="none" strike="noStrike">
                          <a:effectLst/>
                          <a:latin typeface="+mn-lt"/>
                        </a:rPr>
                        <a:t> </a:t>
                      </a:r>
                      <a:r>
                        <a:rPr lang="da-DK" sz="700" u="none" strike="noStrike" err="1">
                          <a:effectLst/>
                          <a:latin typeface="+mn-lt"/>
                        </a:rPr>
                        <a:t>nozzle</a:t>
                      </a:r>
                      <a:r>
                        <a:rPr lang="da-DK" sz="700" u="none" strike="noStrike">
                          <a:effectLst/>
                          <a:latin typeface="+mn-lt"/>
                        </a:rPr>
                        <a:t> RD295P </a:t>
                      </a:r>
                      <a:r>
                        <a:rPr lang="da-DK" sz="700" u="none" strike="noStrike" err="1">
                          <a:effectLst/>
                          <a:latin typeface="+mn-lt"/>
                        </a:rPr>
                        <a:t>W.Clip</a:t>
                      </a:r>
                      <a:endParaRPr lang="da-DK" sz="7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700" u="none" strike="noStrike">
                          <a:effectLst/>
                          <a:latin typeface="+mn-lt"/>
                        </a:rPr>
                        <a:t>107417790</a:t>
                      </a:r>
                      <a:endParaRPr lang="en-US" sz="7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7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7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Roboto"/>
                          <a:cs typeface="+mn-cs"/>
                        </a:rPr>
                        <a:t>•</a:t>
                      </a: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33607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da-DK" sz="700" u="none" strike="noStrike" err="1">
                          <a:effectLst/>
                          <a:latin typeface="+mn-lt"/>
                        </a:rPr>
                        <a:t>Combi</a:t>
                      </a:r>
                      <a:r>
                        <a:rPr lang="da-DK" sz="700" u="none" strike="noStrike">
                          <a:effectLst/>
                          <a:latin typeface="+mn-lt"/>
                        </a:rPr>
                        <a:t> </a:t>
                      </a:r>
                      <a:r>
                        <a:rPr lang="da-DK" sz="700" u="none" strike="noStrike" err="1">
                          <a:effectLst/>
                          <a:latin typeface="+mn-lt"/>
                        </a:rPr>
                        <a:t>nozzle</a:t>
                      </a:r>
                      <a:r>
                        <a:rPr lang="da-DK" sz="700" u="none" strike="noStrike">
                          <a:effectLst/>
                          <a:latin typeface="+mn-lt"/>
                        </a:rPr>
                        <a:t> RD295</a:t>
                      </a:r>
                      <a:endParaRPr lang="da-DK" sz="7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700" u="none" strike="noStrike">
                          <a:effectLst/>
                          <a:latin typeface="+mn-lt"/>
                        </a:rPr>
                        <a:t>140 8492 520</a:t>
                      </a:r>
                      <a:endParaRPr lang="en-US" sz="7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7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4797096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da-DK" sz="700" u="none" strike="noStrike" err="1">
                          <a:effectLst/>
                          <a:latin typeface="+mn-lt"/>
                        </a:rPr>
                        <a:t>Combi</a:t>
                      </a:r>
                      <a:r>
                        <a:rPr lang="da-DK" sz="700" u="none" strike="noStrike">
                          <a:effectLst/>
                          <a:latin typeface="+mn-lt"/>
                        </a:rPr>
                        <a:t> </a:t>
                      </a:r>
                      <a:r>
                        <a:rPr lang="da-DK" sz="700" u="none" strike="noStrike" err="1">
                          <a:effectLst/>
                          <a:latin typeface="+mn-lt"/>
                        </a:rPr>
                        <a:t>nozzle</a:t>
                      </a:r>
                      <a:r>
                        <a:rPr lang="da-DK" sz="700" u="none" strike="noStrike">
                          <a:effectLst/>
                          <a:latin typeface="+mn-lt"/>
                        </a:rPr>
                        <a:t> RD277</a:t>
                      </a:r>
                      <a:endParaRPr lang="da-DK" sz="7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700" u="none" strike="noStrike">
                          <a:effectLst/>
                          <a:latin typeface="+mn-lt"/>
                        </a:rPr>
                        <a:t>107411677</a:t>
                      </a:r>
                      <a:endParaRPr lang="en-US" sz="7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7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7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Roboto"/>
                          <a:cs typeface="+mn-cs"/>
                        </a:rPr>
                        <a:t>•</a:t>
                      </a: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7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Roboto"/>
                          <a:cs typeface="+mn-cs"/>
                        </a:rPr>
                        <a:t>•</a:t>
                      </a: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9912206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da-DK" sz="700" u="none" strike="noStrike" err="1">
                          <a:effectLst/>
                          <a:latin typeface="+mn-lt"/>
                        </a:rPr>
                        <a:t>Combi</a:t>
                      </a:r>
                      <a:r>
                        <a:rPr lang="da-DK" sz="700" u="none" strike="noStrike">
                          <a:effectLst/>
                          <a:latin typeface="+mn-lt"/>
                        </a:rPr>
                        <a:t> </a:t>
                      </a:r>
                      <a:r>
                        <a:rPr lang="da-DK" sz="700" u="none" strike="noStrike" err="1">
                          <a:effectLst/>
                          <a:latin typeface="+mn-lt"/>
                        </a:rPr>
                        <a:t>nozzle</a:t>
                      </a:r>
                      <a:r>
                        <a:rPr lang="da-DK" sz="700" u="none" strike="noStrike">
                          <a:effectLst/>
                          <a:latin typeface="+mn-lt"/>
                        </a:rPr>
                        <a:t> JP</a:t>
                      </a:r>
                      <a:endParaRPr lang="da-DK" sz="7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700" u="none" strike="noStrike">
                          <a:effectLst/>
                          <a:latin typeface="+mn-lt"/>
                        </a:rPr>
                        <a:t>107405141</a:t>
                      </a:r>
                      <a:endParaRPr lang="en-US" sz="7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7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6165729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da-DK" sz="700" u="none" strike="noStrike">
                          <a:effectLst/>
                          <a:latin typeface="+mj-lt"/>
                        </a:rPr>
                        <a:t>Filters &amp; Bags</a:t>
                      </a:r>
                      <a:endParaRPr lang="da-DK" sz="700" b="1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7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7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0109073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da-DK" sz="700" u="none" strike="noStrike">
                          <a:effectLst/>
                          <a:latin typeface="+mn-lt"/>
                        </a:rPr>
                        <a:t>HEPA 13 filter</a:t>
                      </a:r>
                      <a:endParaRPr lang="da-DK" sz="7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700" u="none" strike="noStrike">
                          <a:effectLst/>
                          <a:latin typeface="+mn-lt"/>
                        </a:rPr>
                        <a:t>147 1250 </a:t>
                      </a:r>
                      <a:r>
                        <a:rPr lang="da-DK" sz="700" u="none" strike="noStrike">
                          <a:effectLst/>
                          <a:latin typeface="+mn-lt"/>
                        </a:rPr>
                        <a:t>6</a:t>
                      </a:r>
                      <a:r>
                        <a:rPr lang="en-DK" sz="700" u="none" strike="noStrike">
                          <a:effectLst/>
                          <a:latin typeface="+mn-lt"/>
                        </a:rPr>
                        <a:t>00</a:t>
                      </a:r>
                      <a:endParaRPr lang="en-US" sz="7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700" b="0" i="1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7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/>
                          <a:cs typeface="+mn-cs"/>
                        </a:rPr>
                        <a:t>•</a:t>
                      </a: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7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/>
                          <a:cs typeface="+mn-cs"/>
                        </a:rPr>
                        <a:t>•</a:t>
                      </a: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7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/>
                          <a:cs typeface="+mn-cs"/>
                        </a:rPr>
                        <a:t>•</a:t>
                      </a: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911094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da-DK" sz="700" u="none" strike="noStrike">
                          <a:effectLst/>
                          <a:latin typeface="+mn-lt"/>
                        </a:rPr>
                        <a:t>HEPA 14 filter</a:t>
                      </a:r>
                      <a:endParaRPr lang="da-DK" sz="7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700" u="none" strike="noStrike">
                          <a:effectLst/>
                          <a:latin typeface="+mn-lt"/>
                        </a:rPr>
                        <a:t>107421443</a:t>
                      </a:r>
                      <a:endParaRPr lang="en-US" sz="7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700" b="0" i="1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3295486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da-DK" sz="700" u="none" strike="noStrike">
                          <a:effectLst/>
                          <a:latin typeface="+mn-lt"/>
                        </a:rPr>
                        <a:t>Standard filter</a:t>
                      </a:r>
                      <a:endParaRPr lang="da-DK" sz="7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700" u="none" strike="noStrike">
                          <a:effectLst/>
                          <a:latin typeface="+mn-lt"/>
                        </a:rPr>
                        <a:t>107421444</a:t>
                      </a:r>
                      <a:endParaRPr lang="en-US" sz="7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700" b="0" i="1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2283944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da-DK" sz="700" u="none" strike="noStrike" err="1">
                          <a:effectLst/>
                          <a:latin typeface="+mn-lt"/>
                        </a:rPr>
                        <a:t>Sack</a:t>
                      </a:r>
                      <a:r>
                        <a:rPr lang="da-DK" sz="700" u="none" strike="noStrike">
                          <a:effectLst/>
                          <a:latin typeface="+mn-lt"/>
                        </a:rPr>
                        <a:t> </a:t>
                      </a:r>
                      <a:r>
                        <a:rPr lang="da-DK" sz="700" u="none" strike="noStrike" err="1">
                          <a:effectLst/>
                          <a:latin typeface="+mn-lt"/>
                        </a:rPr>
                        <a:t>prefilter</a:t>
                      </a:r>
                      <a:endParaRPr lang="da-DK" sz="7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700" u="none" strike="noStrike">
                          <a:effectLst/>
                          <a:latin typeface="+mn-lt"/>
                        </a:rPr>
                        <a:t>147 1432 500</a:t>
                      </a:r>
                      <a:endParaRPr lang="en-US" sz="7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7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7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/>
                          <a:cs typeface="+mn-cs"/>
                        </a:rPr>
                        <a:t>•</a:t>
                      </a: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7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/>
                          <a:cs typeface="+mn-cs"/>
                        </a:rPr>
                        <a:t>•</a:t>
                      </a: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7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/>
                          <a:cs typeface="+mn-cs"/>
                        </a:rPr>
                        <a:t>•</a:t>
                      </a: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5229371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da-DK" sz="700" u="none" strike="noStrike">
                          <a:effectLst/>
                          <a:latin typeface="+mn-lt"/>
                        </a:rPr>
                        <a:t>Motor filter</a:t>
                      </a:r>
                      <a:endParaRPr lang="da-DK" sz="7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700" u="none" strike="noStrike">
                          <a:effectLst/>
                          <a:latin typeface="+mn-lt"/>
                        </a:rPr>
                        <a:t>140 1535 510</a:t>
                      </a:r>
                      <a:endParaRPr lang="en-US" sz="7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7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7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/>
                          <a:cs typeface="+mn-cs"/>
                        </a:rPr>
                        <a:t>•</a:t>
                      </a: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7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/>
                          <a:cs typeface="+mn-cs"/>
                        </a:rPr>
                        <a:t>•</a:t>
                      </a: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7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/>
                          <a:cs typeface="+mn-cs"/>
                        </a:rPr>
                        <a:t>•</a:t>
                      </a: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084322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da-DK" sz="700" u="none" strike="noStrike">
                          <a:effectLst/>
                          <a:latin typeface="+mn-lt"/>
                        </a:rPr>
                        <a:t>Fleece </a:t>
                      </a:r>
                      <a:r>
                        <a:rPr lang="da-DK" sz="700" u="none" strike="noStrike" err="1">
                          <a:effectLst/>
                          <a:latin typeface="+mn-lt"/>
                        </a:rPr>
                        <a:t>dust</a:t>
                      </a:r>
                      <a:r>
                        <a:rPr lang="da-DK" sz="700" u="none" strike="noStrike">
                          <a:effectLst/>
                          <a:latin typeface="+mn-lt"/>
                        </a:rPr>
                        <a:t> bag 10-P</a:t>
                      </a:r>
                      <a:endParaRPr lang="da-DK" sz="7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700" u="none" strike="noStrike">
                          <a:effectLst/>
                          <a:latin typeface="+mn-lt"/>
                        </a:rPr>
                        <a:t>82367820</a:t>
                      </a:r>
                      <a:endParaRPr lang="en-US" sz="7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700" b="0" i="0" u="none" strike="noStrike">
                        <a:solidFill>
                          <a:srgbClr val="F79646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9178004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da-DK" sz="700" u="none" strike="noStrike">
                          <a:effectLst/>
                          <a:latin typeface="+mn-lt"/>
                        </a:rPr>
                        <a:t>Paper </a:t>
                      </a:r>
                      <a:r>
                        <a:rPr lang="da-DK" sz="700" u="none" strike="noStrike" err="1">
                          <a:effectLst/>
                          <a:latin typeface="+mn-lt"/>
                        </a:rPr>
                        <a:t>dust</a:t>
                      </a:r>
                      <a:r>
                        <a:rPr lang="da-DK" sz="700" u="none" strike="noStrike">
                          <a:effectLst/>
                          <a:latin typeface="+mn-lt"/>
                        </a:rPr>
                        <a:t> bag 5-P</a:t>
                      </a:r>
                      <a:endParaRPr lang="da-DK" sz="7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700" u="none" strike="noStrike">
                          <a:effectLst/>
                          <a:latin typeface="+mn-lt"/>
                        </a:rPr>
                        <a:t>82367810</a:t>
                      </a:r>
                      <a:endParaRPr lang="en-US" sz="7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7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434375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da-DK" sz="700" u="none" strike="noStrike">
                          <a:effectLst/>
                          <a:latin typeface="+mn-lt"/>
                        </a:rPr>
                        <a:t>Paper </a:t>
                      </a:r>
                      <a:r>
                        <a:rPr lang="da-DK" sz="700" u="none" strike="noStrike" err="1">
                          <a:effectLst/>
                          <a:latin typeface="+mn-lt"/>
                        </a:rPr>
                        <a:t>dust</a:t>
                      </a:r>
                      <a:r>
                        <a:rPr lang="da-DK" sz="700" u="none" strike="noStrike">
                          <a:effectLst/>
                          <a:latin typeface="+mn-lt"/>
                        </a:rPr>
                        <a:t> bag 10-P</a:t>
                      </a:r>
                      <a:endParaRPr lang="da-DK" sz="7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700" u="none" strike="noStrike">
                          <a:effectLst/>
                          <a:latin typeface="+mn-lt"/>
                        </a:rPr>
                        <a:t>140 8618 000</a:t>
                      </a:r>
                      <a:endParaRPr lang="en-US" sz="7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7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5163342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da-DK" sz="700" u="none" strike="noStrike" err="1">
                          <a:effectLst/>
                          <a:latin typeface="+mn-lt"/>
                        </a:rPr>
                        <a:t>Reusable</a:t>
                      </a:r>
                      <a:r>
                        <a:rPr lang="da-DK" sz="700" u="none" strike="noStrike">
                          <a:effectLst/>
                          <a:latin typeface="+mn-lt"/>
                        </a:rPr>
                        <a:t> </a:t>
                      </a:r>
                      <a:r>
                        <a:rPr lang="da-DK" sz="700" u="none" strike="noStrike" err="1">
                          <a:effectLst/>
                          <a:latin typeface="+mn-lt"/>
                        </a:rPr>
                        <a:t>dust</a:t>
                      </a:r>
                      <a:r>
                        <a:rPr lang="da-DK" sz="700" u="none" strike="noStrike">
                          <a:effectLst/>
                          <a:latin typeface="+mn-lt"/>
                        </a:rPr>
                        <a:t> bag 1-P (</a:t>
                      </a:r>
                      <a:r>
                        <a:rPr lang="da-DK" sz="700" u="none" strike="noStrike" err="1">
                          <a:effectLst/>
                          <a:latin typeface="+mn-lt"/>
                        </a:rPr>
                        <a:t>cloth</a:t>
                      </a:r>
                      <a:r>
                        <a:rPr lang="da-DK" sz="700" u="none" strike="noStrike">
                          <a:effectLst/>
                          <a:latin typeface="+mn-lt"/>
                        </a:rPr>
                        <a:t>)</a:t>
                      </a:r>
                      <a:endParaRPr lang="da-DK" sz="7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700" u="none" strike="noStrike">
                          <a:effectLst/>
                          <a:latin typeface="+mn-lt"/>
                        </a:rPr>
                        <a:t>22251800</a:t>
                      </a:r>
                      <a:endParaRPr lang="en-US" sz="7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7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9628213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da-DK" sz="700" u="none" strike="noStrike">
                          <a:effectLst/>
                          <a:latin typeface="+mn-lt"/>
                        </a:rPr>
                        <a:t>Maintenance Kit VP300 – LIGHT</a:t>
                      </a:r>
                      <a:endParaRPr lang="da-DK" sz="7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700" u="none" strike="noStrike">
                          <a:effectLst/>
                          <a:latin typeface="+mn-lt"/>
                        </a:rPr>
                        <a:t>107421454</a:t>
                      </a:r>
                      <a:endParaRPr lang="en-US" sz="7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a-DK" sz="700" u="none" strike="noStrike" err="1">
                          <a:effectLst/>
                          <a:latin typeface="+mn-lt"/>
                        </a:rPr>
                        <a:t>fits</a:t>
                      </a:r>
                      <a:r>
                        <a:rPr lang="da-DK" sz="700" u="none" strike="noStrike">
                          <a:effectLst/>
                          <a:latin typeface="+mn-lt"/>
                        </a:rPr>
                        <a:t> </a:t>
                      </a:r>
                      <a:r>
                        <a:rPr lang="da-DK" sz="700" u="none" strike="noStrike" err="1">
                          <a:effectLst/>
                          <a:latin typeface="+mn-lt"/>
                        </a:rPr>
                        <a:t>also</a:t>
                      </a:r>
                      <a:r>
                        <a:rPr lang="da-DK" sz="700" u="none" strike="noStrike">
                          <a:effectLst/>
                          <a:latin typeface="+mn-lt"/>
                        </a:rPr>
                        <a:t> VP400</a:t>
                      </a:r>
                      <a:endParaRPr lang="da-DK" sz="700" b="0" i="1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5676266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da-DK" sz="700" u="none" strike="noStrike">
                          <a:effectLst/>
                          <a:latin typeface="+mn-lt"/>
                        </a:rPr>
                        <a:t>Maintenance Kit VP300 – PLUS</a:t>
                      </a:r>
                      <a:endParaRPr lang="da-DK" sz="7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700" u="none" strike="noStrike">
                          <a:effectLst/>
                          <a:latin typeface="+mn-lt"/>
                        </a:rPr>
                        <a:t>107421455</a:t>
                      </a:r>
                      <a:endParaRPr lang="en-US" sz="7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a-DK" sz="700" u="none" strike="noStrike" err="1">
                          <a:effectLst/>
                          <a:latin typeface="+mn-lt"/>
                        </a:rPr>
                        <a:t>fits</a:t>
                      </a:r>
                      <a:r>
                        <a:rPr lang="da-DK" sz="700" u="none" strike="noStrike">
                          <a:effectLst/>
                          <a:latin typeface="+mn-lt"/>
                        </a:rPr>
                        <a:t> </a:t>
                      </a:r>
                      <a:r>
                        <a:rPr lang="da-DK" sz="700" u="none" strike="noStrike" err="1">
                          <a:effectLst/>
                          <a:latin typeface="+mn-lt"/>
                        </a:rPr>
                        <a:t>also</a:t>
                      </a:r>
                      <a:r>
                        <a:rPr lang="da-DK" sz="700" u="none" strike="noStrike">
                          <a:effectLst/>
                          <a:latin typeface="+mn-lt"/>
                        </a:rPr>
                        <a:t> VP400</a:t>
                      </a:r>
                      <a:endParaRPr lang="da-DK" sz="700" b="0" i="1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5636570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da-DK" sz="700" u="none" strike="noStrike" err="1">
                          <a:effectLst/>
                          <a:latin typeface="+mj-lt"/>
                        </a:rPr>
                        <a:t>Other</a:t>
                      </a:r>
                      <a:r>
                        <a:rPr lang="da-DK" sz="700" u="none" strike="noStrike">
                          <a:effectLst/>
                          <a:latin typeface="+mj-lt"/>
                        </a:rPr>
                        <a:t> </a:t>
                      </a:r>
                      <a:r>
                        <a:rPr lang="da-DK" sz="700" u="none" strike="noStrike" err="1">
                          <a:effectLst/>
                          <a:latin typeface="+mj-lt"/>
                        </a:rPr>
                        <a:t>accessories</a:t>
                      </a:r>
                      <a:endParaRPr lang="da-DK" sz="700" b="1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7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7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8372357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da-DK" sz="700" u="none" strike="noStrike" err="1">
                          <a:effectLst/>
                          <a:latin typeface="+mn-lt"/>
                        </a:rPr>
                        <a:t>Round</a:t>
                      </a:r>
                      <a:r>
                        <a:rPr lang="da-DK" sz="700" u="none" strike="noStrike">
                          <a:effectLst/>
                          <a:latin typeface="+mn-lt"/>
                        </a:rPr>
                        <a:t> </a:t>
                      </a:r>
                      <a:r>
                        <a:rPr lang="da-DK" sz="700" u="none" strike="noStrike" err="1">
                          <a:effectLst/>
                          <a:latin typeface="+mn-lt"/>
                        </a:rPr>
                        <a:t>brush</a:t>
                      </a:r>
                      <a:endParaRPr lang="da-DK" sz="7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700" u="none" strike="noStrike">
                          <a:effectLst/>
                          <a:latin typeface="+mn-lt"/>
                        </a:rPr>
                        <a:t>140 8244 500</a:t>
                      </a:r>
                      <a:endParaRPr lang="en-US" sz="7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7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7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/>
                          <a:cs typeface="+mn-cs"/>
                        </a:rPr>
                        <a:t>•</a:t>
                      </a: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7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/>
                          <a:cs typeface="+mn-cs"/>
                        </a:rPr>
                        <a:t>•</a:t>
                      </a:r>
                      <a:endParaRPr kumimoji="0" lang="da-DK" sz="7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5851007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da-DK" sz="700" u="none" strike="noStrike" err="1">
                          <a:effectLst/>
                          <a:latin typeface="+mn-lt"/>
                        </a:rPr>
                        <a:t>Crevice</a:t>
                      </a:r>
                      <a:r>
                        <a:rPr lang="da-DK" sz="700" u="none" strike="noStrike">
                          <a:effectLst/>
                          <a:latin typeface="+mn-lt"/>
                        </a:rPr>
                        <a:t> </a:t>
                      </a:r>
                      <a:r>
                        <a:rPr lang="da-DK" sz="700" u="none" strike="noStrike" err="1">
                          <a:effectLst/>
                          <a:latin typeface="+mn-lt"/>
                        </a:rPr>
                        <a:t>nozzle</a:t>
                      </a:r>
                      <a:endParaRPr lang="da-DK" sz="7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700" u="none" strike="noStrike">
                          <a:effectLst/>
                          <a:latin typeface="+mn-lt"/>
                        </a:rPr>
                        <a:t>147 0146 500</a:t>
                      </a:r>
                      <a:endParaRPr lang="en-US" sz="7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a-DK" sz="700" b="0" i="1" u="none" strike="noStrike">
                        <a:solidFill>
                          <a:srgbClr val="F79646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7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/>
                          <a:cs typeface="+mn-cs"/>
                        </a:rPr>
                        <a:t>•</a:t>
                      </a:r>
                      <a:endParaRPr kumimoji="0" lang="da-DK" sz="7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7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/>
                          <a:cs typeface="+mn-cs"/>
                        </a:rPr>
                        <a:t>•</a:t>
                      </a:r>
                      <a:endParaRPr kumimoji="0" lang="da-DK" sz="7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947309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da-DK" sz="700" u="none" strike="noStrike">
                          <a:effectLst/>
                          <a:latin typeface="+mn-lt"/>
                        </a:rPr>
                        <a:t>Premium HF </a:t>
                      </a:r>
                      <a:r>
                        <a:rPr lang="da-DK" sz="700" u="none" strike="noStrike" err="1">
                          <a:effectLst/>
                          <a:latin typeface="+mn-lt"/>
                        </a:rPr>
                        <a:t>nozzle</a:t>
                      </a:r>
                      <a:r>
                        <a:rPr lang="da-DK" sz="700" u="none" strike="noStrike">
                          <a:effectLst/>
                          <a:latin typeface="+mn-lt"/>
                        </a:rPr>
                        <a:t> 350mm</a:t>
                      </a:r>
                      <a:endParaRPr lang="da-DK" sz="7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700" u="none" strike="noStrike">
                          <a:effectLst/>
                          <a:latin typeface="+mn-lt"/>
                        </a:rPr>
                        <a:t>107413080</a:t>
                      </a:r>
                      <a:endParaRPr lang="en-US" sz="7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a-DK" sz="700" u="none" strike="noStrike" err="1">
                          <a:effectLst/>
                          <a:latin typeface="+mn-lt"/>
                        </a:rPr>
                        <a:t>grey</a:t>
                      </a:r>
                      <a:r>
                        <a:rPr lang="da-DK" sz="700" u="none" strike="noStrike">
                          <a:effectLst/>
                          <a:latin typeface="+mn-lt"/>
                        </a:rPr>
                        <a:t> </a:t>
                      </a:r>
                      <a:r>
                        <a:rPr lang="da-DK" sz="700" u="none" strike="noStrike" err="1">
                          <a:effectLst/>
                          <a:latin typeface="+mn-lt"/>
                        </a:rPr>
                        <a:t>currently</a:t>
                      </a:r>
                      <a:endParaRPr lang="da-DK" sz="700" b="0" i="1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2885443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da-DK" sz="700" u="none" strike="noStrike">
                          <a:effectLst/>
                          <a:latin typeface="+mn-lt"/>
                        </a:rPr>
                        <a:t>Premium HF </a:t>
                      </a:r>
                      <a:r>
                        <a:rPr lang="da-DK" sz="700" u="none" strike="noStrike" err="1">
                          <a:effectLst/>
                          <a:latin typeface="+mn-lt"/>
                        </a:rPr>
                        <a:t>nozzle</a:t>
                      </a:r>
                      <a:r>
                        <a:rPr lang="da-DK" sz="700" u="none" strike="noStrike">
                          <a:effectLst/>
                          <a:latin typeface="+mn-lt"/>
                        </a:rPr>
                        <a:t> 495mm</a:t>
                      </a:r>
                      <a:endParaRPr lang="da-DK" sz="7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700" u="none" strike="noStrike">
                          <a:effectLst/>
                          <a:latin typeface="+mn-lt"/>
                        </a:rPr>
                        <a:t>107413081</a:t>
                      </a:r>
                      <a:endParaRPr lang="en-US" sz="7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a-DK" sz="700" u="none" strike="noStrike" err="1">
                          <a:effectLst/>
                          <a:latin typeface="+mn-lt"/>
                        </a:rPr>
                        <a:t>grey</a:t>
                      </a:r>
                      <a:r>
                        <a:rPr lang="da-DK" sz="700" u="none" strike="noStrike">
                          <a:effectLst/>
                          <a:latin typeface="+mn-lt"/>
                        </a:rPr>
                        <a:t> </a:t>
                      </a:r>
                      <a:r>
                        <a:rPr lang="da-DK" sz="700" u="none" strike="noStrike" err="1">
                          <a:effectLst/>
                          <a:latin typeface="+mn-lt"/>
                        </a:rPr>
                        <a:t>currently</a:t>
                      </a:r>
                      <a:endParaRPr lang="da-DK" sz="700" b="0" i="1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3261413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da-DK" sz="700" u="none" strike="noStrike">
                          <a:effectLst/>
                          <a:latin typeface="+mn-lt"/>
                        </a:rPr>
                        <a:t>Radiator </a:t>
                      </a:r>
                      <a:r>
                        <a:rPr lang="da-DK" sz="700" u="none" strike="noStrike" err="1">
                          <a:effectLst/>
                          <a:latin typeface="+mn-lt"/>
                        </a:rPr>
                        <a:t>crevice</a:t>
                      </a:r>
                      <a:endParaRPr lang="da-DK" sz="7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700" u="none" strike="noStrike">
                          <a:effectLst/>
                          <a:latin typeface="+mn-lt"/>
                        </a:rPr>
                        <a:t>81530400</a:t>
                      </a:r>
                      <a:endParaRPr lang="en-US" sz="7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a-DK" sz="700" u="none" strike="noStrike" err="1">
                          <a:effectLst/>
                          <a:latin typeface="+mn-lt"/>
                        </a:rPr>
                        <a:t>grey</a:t>
                      </a:r>
                      <a:r>
                        <a:rPr lang="da-DK" sz="700" u="none" strike="noStrike">
                          <a:effectLst/>
                          <a:latin typeface="+mn-lt"/>
                        </a:rPr>
                        <a:t> </a:t>
                      </a:r>
                      <a:r>
                        <a:rPr lang="da-DK" sz="700" u="none" strike="noStrike" err="1">
                          <a:effectLst/>
                          <a:latin typeface="+mn-lt"/>
                        </a:rPr>
                        <a:t>currently</a:t>
                      </a:r>
                      <a:endParaRPr lang="da-DK" sz="700" b="0" i="1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2964503"/>
                  </a:ext>
                </a:extLst>
              </a:tr>
            </a:tbl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D3E6B01F-01BD-382A-81CE-F104C3028436}"/>
              </a:ext>
            </a:extLst>
          </p:cNvPr>
          <p:cNvSpPr txBox="1"/>
          <p:nvPr/>
        </p:nvSpPr>
        <p:spPr>
          <a:xfrm>
            <a:off x="475520" y="6301954"/>
            <a:ext cx="3276600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DK" sz="800"/>
              <a:t>*C</a:t>
            </a:r>
            <a:r>
              <a:rPr lang="en-GB" sz="800">
                <a:effectLst/>
              </a:rPr>
              <a:t>o-branded/private label models not included in sales presentation</a:t>
            </a:r>
            <a:endParaRPr lang="en-DK" sz="800"/>
          </a:p>
        </p:txBody>
      </p:sp>
    </p:spTree>
    <p:extLst>
      <p:ext uri="{BB962C8B-B14F-4D97-AF65-F5344CB8AC3E}">
        <p14:creationId xmlns:p14="http://schemas.microsoft.com/office/powerpoint/2010/main" val="31293966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66C85F93-3220-05A7-2E0C-86CCF797AF0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6C85F93-3220-05A7-2E0C-86CCF797AF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1F6F35A-7257-A764-570F-24AE4544FFDA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 wrap="square" anchor="ctr">
            <a:normAutofit/>
          </a:bodyPr>
          <a:lstStyle/>
          <a:p>
            <a:pPr algn="l">
              <a:spcAft>
                <a:spcPts val="600"/>
              </a:spcAft>
            </a:pPr>
            <a:r>
              <a:rPr lang="en-US"/>
              <a:t>COMPANY 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5976AF4-76DB-9CF0-A0D1-7EFA6FC84B0A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 wrap="square" anchor="ctr">
            <a:normAutofit/>
          </a:bodyPr>
          <a:lstStyle/>
          <a:p>
            <a:pPr>
              <a:spcAft>
                <a:spcPts val="600"/>
              </a:spcAft>
            </a:pPr>
            <a:fld id="{6C385236-B7BA-4938-9EA6-6DEC8CA653D7}" type="slidenum">
              <a:rPr lang="en-US" smtClean="0"/>
              <a:pPr>
                <a:spcAft>
                  <a:spcPts val="600"/>
                </a:spcAft>
              </a:pPr>
              <a:t>19</a:t>
            </a:fld>
            <a:endParaRPr lang="en-US"/>
          </a:p>
        </p:txBody>
      </p:sp>
      <p:sp>
        <p:nvSpPr>
          <p:cNvPr id="34" name="Text Placeholder 33">
            <a:extLst>
              <a:ext uri="{FF2B5EF4-FFF2-40B4-BE49-F238E27FC236}">
                <a16:creationId xmlns:a16="http://schemas.microsoft.com/office/drawing/2014/main" id="{B3CA8A8F-46BB-82F4-9AF2-DA239F1C451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/>
              <a:t>Technical specification of range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9B9DB6AC-CAB3-0E0C-5ECF-D4B9A8ABE8F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t">
            <a:noAutofit/>
          </a:bodyPr>
          <a:lstStyle/>
          <a:p>
            <a:r>
              <a:rPr lang="en-US"/>
              <a:t>VP400 Technical Spec</a:t>
            </a:r>
          </a:p>
        </p:txBody>
      </p:sp>
      <p:graphicFrame>
        <p:nvGraphicFramePr>
          <p:cNvPr id="15" name="Table 14">
            <a:extLst>
              <a:ext uri="{FF2B5EF4-FFF2-40B4-BE49-F238E27FC236}">
                <a16:creationId xmlns:a16="http://schemas.microsoft.com/office/drawing/2014/main" id="{70525598-6121-DE00-11D6-FF59DB7A0E8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64318039"/>
              </p:ext>
            </p:extLst>
          </p:nvPr>
        </p:nvGraphicFramePr>
        <p:xfrm>
          <a:off x="4748579" y="494567"/>
          <a:ext cx="3796093" cy="580152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980000">
                  <a:extLst>
                    <a:ext uri="{9D8B030D-6E8A-4147-A177-3AD203B41FA5}">
                      <a16:colId xmlns:a16="http://schemas.microsoft.com/office/drawing/2014/main" val="2370855195"/>
                    </a:ext>
                  </a:extLst>
                </a:gridCol>
                <a:gridCol w="614375">
                  <a:extLst>
                    <a:ext uri="{9D8B030D-6E8A-4147-A177-3AD203B41FA5}">
                      <a16:colId xmlns:a16="http://schemas.microsoft.com/office/drawing/2014/main" val="1848593103"/>
                    </a:ext>
                  </a:extLst>
                </a:gridCol>
                <a:gridCol w="106395">
                  <a:extLst>
                    <a:ext uri="{9D8B030D-6E8A-4147-A177-3AD203B41FA5}">
                      <a16:colId xmlns:a16="http://schemas.microsoft.com/office/drawing/2014/main" val="2921893804"/>
                    </a:ext>
                  </a:extLst>
                </a:gridCol>
                <a:gridCol w="108000">
                  <a:extLst>
                    <a:ext uri="{9D8B030D-6E8A-4147-A177-3AD203B41FA5}">
                      <a16:colId xmlns:a16="http://schemas.microsoft.com/office/drawing/2014/main" val="2802723143"/>
                    </a:ext>
                  </a:extLst>
                </a:gridCol>
                <a:gridCol w="879323">
                  <a:extLst>
                    <a:ext uri="{9D8B030D-6E8A-4147-A177-3AD203B41FA5}">
                      <a16:colId xmlns:a16="http://schemas.microsoft.com/office/drawing/2014/main" val="2785794791"/>
                    </a:ext>
                  </a:extLst>
                </a:gridCol>
                <a:gridCol w="108000">
                  <a:extLst>
                    <a:ext uri="{9D8B030D-6E8A-4147-A177-3AD203B41FA5}">
                      <a16:colId xmlns:a16="http://schemas.microsoft.com/office/drawing/2014/main" val="3129786434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l" fontAlgn="b"/>
                      <a:endParaRPr lang="da-DK" sz="900" b="1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a-DK" sz="900" u="none" strike="noStrike">
                          <a:effectLst/>
                          <a:latin typeface="+mj-lt"/>
                        </a:rPr>
                        <a:t>Country variant</a:t>
                      </a:r>
                      <a:endParaRPr lang="da-DK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900" b="1" u="none" strike="noStrike">
                          <a:effectLst/>
                          <a:latin typeface="+mj-lt"/>
                        </a:rPr>
                        <a:t>UK</a:t>
                      </a:r>
                      <a:endParaRPr lang="da-DK" sz="900" b="1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3576143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a-DK" sz="800" u="none" strike="noStrike">
                          <a:effectLst/>
                        </a:rPr>
                        <a:t>Item </a:t>
                      </a:r>
                      <a:r>
                        <a:rPr lang="da-DK" sz="800" u="none" strike="noStrike" err="1">
                          <a:effectLst/>
                        </a:rPr>
                        <a:t>number</a:t>
                      </a:r>
                      <a:endParaRPr lang="da-DK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DK" sz="800" u="none" strike="noStrike">
                          <a:effectLst/>
                        </a:rPr>
                        <a:t>107421170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0" i="0" u="none" strike="noStrike">
                        <a:solidFill>
                          <a:srgbClr val="EA350F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7797768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endParaRPr lang="en-US" sz="8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a-DK" sz="800" u="none" strike="noStrike" err="1">
                          <a:effectLst/>
                        </a:rPr>
                        <a:t>Description</a:t>
                      </a:r>
                      <a:endParaRPr lang="da-DK" sz="8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da-DK" sz="8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da-DK" sz="800" u="none" strike="noStrike">
                          <a:effectLst/>
                        </a:rPr>
                        <a:t>VP400 HEPA XECP UK</a:t>
                      </a:r>
                      <a:endParaRPr lang="da-DK" sz="8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EA350F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7864752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da-DK" sz="800" u="none" strike="noStrike">
                          <a:effectLst/>
                          <a:latin typeface="+mj-lt"/>
                        </a:rPr>
                        <a:t>Technical data</a:t>
                      </a:r>
                      <a:endParaRPr lang="da-DK" sz="800" b="1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4238212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da-DK" sz="800" u="none" strike="noStrike" err="1">
                          <a:effectLst/>
                          <a:latin typeface="+mn-lt"/>
                        </a:rPr>
                        <a:t>Voltage</a:t>
                      </a:r>
                      <a:r>
                        <a:rPr lang="da-DK" sz="800" u="none" strike="noStrike">
                          <a:effectLst/>
                          <a:latin typeface="+mn-lt"/>
                        </a:rPr>
                        <a:t>/</a:t>
                      </a:r>
                      <a:r>
                        <a:rPr lang="da-DK" sz="800" u="none" strike="noStrike" err="1">
                          <a:effectLst/>
                          <a:latin typeface="+mn-lt"/>
                        </a:rPr>
                        <a:t>Frequency</a:t>
                      </a:r>
                      <a:endParaRPr lang="da-DK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a-DK" sz="800" u="none" strike="noStrike">
                          <a:effectLst/>
                        </a:rPr>
                        <a:t>V/Hz</a:t>
                      </a:r>
                      <a:endParaRPr lang="da-DK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800" u="none" strike="noStrike">
                          <a:effectLst/>
                        </a:rPr>
                        <a:t>220-240/50-60</a:t>
                      </a:r>
                      <a:endParaRPr lang="en-US" sz="800" b="0" i="0" u="none" strike="noStrike"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7342198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da-DK" sz="800" u="none" strike="noStrike" err="1">
                          <a:effectLst/>
                        </a:rPr>
                        <a:t>Protection</a:t>
                      </a:r>
                      <a:r>
                        <a:rPr lang="da-DK" sz="800" u="none" strike="noStrike">
                          <a:effectLst/>
                        </a:rPr>
                        <a:t> class / IP </a:t>
                      </a:r>
                      <a:r>
                        <a:rPr lang="da-DK" sz="800" u="none" strike="noStrike" err="1">
                          <a:effectLst/>
                        </a:rPr>
                        <a:t>protection</a:t>
                      </a:r>
                      <a:endParaRPr lang="da-DK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800" u="none" strike="noStrike">
                          <a:effectLst/>
                        </a:rPr>
                        <a:t>II / IP20</a:t>
                      </a:r>
                      <a:endParaRPr lang="da-DK" sz="800" b="0" i="0" u="none" strike="noStrike"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7873040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da-DK" sz="800" u="none" strike="noStrike" err="1">
                          <a:effectLst/>
                        </a:rPr>
                        <a:t>Rated</a:t>
                      </a:r>
                      <a:r>
                        <a:rPr lang="da-DK" sz="800" u="none" strike="noStrike">
                          <a:effectLst/>
                        </a:rPr>
                        <a:t> Power</a:t>
                      </a:r>
                      <a:endParaRPr lang="da-DK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a-DK" sz="800" u="none" strike="noStrike">
                          <a:effectLst/>
                        </a:rPr>
                        <a:t>W</a:t>
                      </a:r>
                      <a:endParaRPr lang="da-DK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800" u="none" strike="noStrike">
                          <a:effectLst/>
                        </a:rPr>
                        <a:t>700</a:t>
                      </a:r>
                      <a:endParaRPr lang="en-US" sz="800" b="0" i="0" u="none" strike="noStrike"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1855562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</a:rPr>
                        <a:t>Suction Power (end of tube)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a-DK" sz="800" u="none" strike="noStrike">
                          <a:effectLst/>
                        </a:rPr>
                        <a:t>W</a:t>
                      </a:r>
                      <a:endParaRPr lang="da-DK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800" u="none" strike="noStrike">
                          <a:effectLst/>
                        </a:rPr>
                        <a:t>225</a:t>
                      </a:r>
                      <a:endParaRPr lang="en-US" sz="800" b="0" i="0" u="none" strike="noStrike"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220322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da-DK" sz="800" u="none" strike="noStrike" err="1">
                          <a:effectLst/>
                        </a:rPr>
                        <a:t>Airflow</a:t>
                      </a:r>
                      <a:r>
                        <a:rPr lang="da-DK" sz="800" u="none" strike="noStrike">
                          <a:effectLst/>
                        </a:rPr>
                        <a:t> (end of tube)</a:t>
                      </a:r>
                      <a:endParaRPr lang="da-DK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a-DK" sz="800" u="none" strike="noStrike">
                          <a:effectLst/>
                        </a:rPr>
                        <a:t>l/s</a:t>
                      </a:r>
                      <a:endParaRPr lang="da-DK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800" u="none" strike="noStrike">
                          <a:effectLst/>
                        </a:rPr>
                        <a:t>32</a:t>
                      </a:r>
                      <a:endParaRPr lang="en-US" sz="800" b="0" i="0" u="none" strike="noStrike"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9499728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da-DK" sz="800" u="none" strike="noStrike" err="1">
                          <a:effectLst/>
                        </a:rPr>
                        <a:t>Vacuum</a:t>
                      </a:r>
                      <a:r>
                        <a:rPr lang="da-DK" sz="800" u="none" strike="noStrike">
                          <a:effectLst/>
                        </a:rPr>
                        <a:t> at </a:t>
                      </a:r>
                      <a:r>
                        <a:rPr lang="da-DK" sz="800" u="none" strike="noStrike" err="1">
                          <a:effectLst/>
                        </a:rPr>
                        <a:t>nozzle</a:t>
                      </a:r>
                      <a:endParaRPr lang="da-DK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a-DK" sz="800" u="none" strike="noStrike">
                          <a:effectLst/>
                        </a:rPr>
                        <a:t>kPa</a:t>
                      </a:r>
                      <a:endParaRPr lang="da-DK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800" u="none" strike="noStrike">
                          <a:effectLst/>
                        </a:rPr>
                        <a:t>22</a:t>
                      </a:r>
                      <a:endParaRPr lang="en-US" sz="800" b="0" i="0" u="none" strike="noStrike"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7368368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</a:rPr>
                        <a:t>Working sound level @2m (IEC 60335-2-69)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a-DK" sz="800" u="none" strike="noStrike">
                          <a:effectLst/>
                        </a:rPr>
                        <a:t>dB(A)</a:t>
                      </a:r>
                      <a:endParaRPr lang="da-DK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1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800" u="none" strike="noStrike">
                          <a:effectLst/>
                        </a:rPr>
                        <a:t>51</a:t>
                      </a:r>
                      <a:endParaRPr lang="en-US" sz="800" b="0" i="0" u="none" strike="noStrike"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5660192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</a:rPr>
                        <a:t>Sound pressure level @1m (IEC 60335-2-69)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a-DK" sz="800" u="none" strike="noStrike">
                          <a:effectLst/>
                        </a:rPr>
                        <a:t>dB(A)</a:t>
                      </a:r>
                      <a:endParaRPr lang="da-DK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800" u="none" strike="noStrike">
                          <a:effectLst/>
                        </a:rPr>
                        <a:t>56</a:t>
                      </a:r>
                      <a:endParaRPr lang="en-US" sz="800" b="0" i="0" u="none" strike="noStrike"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5024883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da-DK" sz="800" u="none" strike="noStrike" err="1">
                          <a:effectLst/>
                        </a:rPr>
                        <a:t>Dust</a:t>
                      </a:r>
                      <a:r>
                        <a:rPr lang="da-DK" sz="800" u="none" strike="noStrike">
                          <a:effectLst/>
                        </a:rPr>
                        <a:t> bag </a:t>
                      </a:r>
                      <a:r>
                        <a:rPr lang="da-DK" sz="800" u="none" strike="noStrike" err="1">
                          <a:effectLst/>
                        </a:rPr>
                        <a:t>capacity</a:t>
                      </a:r>
                      <a:endParaRPr lang="da-DK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a-DK" sz="800" u="none" strike="noStrike">
                          <a:effectLst/>
                        </a:rPr>
                        <a:t>L</a:t>
                      </a:r>
                      <a:endParaRPr lang="da-DK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800" u="none" strike="noStrike">
                          <a:effectLst/>
                        </a:rPr>
                        <a:t>10</a:t>
                      </a:r>
                      <a:endParaRPr lang="en-US" sz="800" b="0" i="0" u="none" strike="noStrike"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457175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da-DK" sz="800" u="none" strike="noStrike">
                          <a:effectLst/>
                        </a:rPr>
                        <a:t>Main filter type</a:t>
                      </a:r>
                      <a:endParaRPr lang="da-DK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800" u="none" strike="noStrike">
                          <a:effectLst/>
                        </a:rPr>
                        <a:t>HEPA 13</a:t>
                      </a:r>
                      <a:endParaRPr lang="da-DK" sz="800" b="0" i="0" u="none" strike="noStrike"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8127076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da-DK" sz="800" u="none" strike="noStrike">
                          <a:effectLst/>
                        </a:rPr>
                        <a:t>Main filter </a:t>
                      </a:r>
                      <a:r>
                        <a:rPr lang="da-DK" sz="800" u="none" strike="noStrike" err="1">
                          <a:effectLst/>
                        </a:rPr>
                        <a:t>area</a:t>
                      </a:r>
                      <a:endParaRPr lang="da-DK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a-DK" sz="800" u="none" strike="noStrike">
                          <a:effectLst/>
                        </a:rPr>
                        <a:t>cm²</a:t>
                      </a:r>
                      <a:endParaRPr lang="da-DK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800" u="none" strike="noStrike">
                          <a:effectLst/>
                        </a:rPr>
                        <a:t>2400</a:t>
                      </a:r>
                      <a:endParaRPr lang="en-US" sz="800" b="0" i="0" u="none" strike="noStrike"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1725806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da-DK" sz="800" u="none" strike="noStrike" err="1">
                          <a:effectLst/>
                        </a:rPr>
                        <a:t>Cord</a:t>
                      </a:r>
                      <a:r>
                        <a:rPr lang="da-DK" sz="800" u="none" strike="noStrike">
                          <a:effectLst/>
                        </a:rPr>
                        <a:t> </a:t>
                      </a:r>
                      <a:r>
                        <a:rPr lang="da-DK" sz="800" u="none" strike="noStrike" err="1">
                          <a:effectLst/>
                        </a:rPr>
                        <a:t>length</a:t>
                      </a:r>
                      <a:endParaRPr lang="da-DK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a-DK" sz="800" u="none" strike="noStrike">
                          <a:effectLst/>
                        </a:rPr>
                        <a:t>m</a:t>
                      </a:r>
                      <a:endParaRPr lang="da-DK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800" u="none" strike="noStrike">
                          <a:effectLst/>
                        </a:rPr>
                        <a:t>15</a:t>
                      </a:r>
                      <a:endParaRPr lang="en-US" sz="800" b="0" i="0" u="none" strike="noStrike"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6406321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da-DK" sz="800" u="none" strike="noStrike" err="1">
                          <a:effectLst/>
                        </a:rPr>
                        <a:t>Working</a:t>
                      </a:r>
                      <a:r>
                        <a:rPr lang="da-DK" sz="800" u="none" strike="noStrike">
                          <a:effectLst/>
                        </a:rPr>
                        <a:t> radius</a:t>
                      </a:r>
                      <a:endParaRPr lang="da-DK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a-DK" sz="800" u="none" strike="noStrike">
                          <a:effectLst/>
                        </a:rPr>
                        <a:t>m</a:t>
                      </a:r>
                      <a:endParaRPr lang="da-DK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800" u="none" strike="noStrike">
                          <a:effectLst/>
                        </a:rPr>
                        <a:t>17,5</a:t>
                      </a:r>
                      <a:endParaRPr lang="en-US" sz="800" b="0" i="0" u="none" strike="noStrike"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440198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da-DK" sz="800" u="none" strike="noStrike" err="1">
                          <a:effectLst/>
                        </a:rPr>
                        <a:t>Weight</a:t>
                      </a:r>
                      <a:r>
                        <a:rPr lang="da-DK" sz="800" u="none" strike="noStrike">
                          <a:effectLst/>
                        </a:rPr>
                        <a:t> (</a:t>
                      </a:r>
                      <a:r>
                        <a:rPr lang="da-DK" sz="800" u="none" strike="noStrike" err="1">
                          <a:effectLst/>
                        </a:rPr>
                        <a:t>machine</a:t>
                      </a:r>
                      <a:r>
                        <a:rPr lang="da-DK" sz="800" u="none" strike="noStrike">
                          <a:effectLst/>
                        </a:rPr>
                        <a:t>)</a:t>
                      </a:r>
                      <a:endParaRPr lang="da-DK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a-DK" sz="800" u="none" strike="noStrike">
                          <a:effectLst/>
                        </a:rPr>
                        <a:t>Kg</a:t>
                      </a:r>
                      <a:endParaRPr lang="da-DK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a-DK" sz="800" b="0" i="1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800" u="none" strike="noStrike">
                          <a:effectLst/>
                        </a:rPr>
                        <a:t>5,5</a:t>
                      </a:r>
                      <a:endParaRPr lang="en-US" sz="800" b="0" i="0" u="none" strike="noStrike"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0059705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da-DK" sz="800" u="none" strike="noStrike">
                          <a:effectLst/>
                        </a:rPr>
                        <a:t>Dimensions (</a:t>
                      </a:r>
                      <a:r>
                        <a:rPr lang="da-DK" sz="800" u="none" strike="noStrike" err="1">
                          <a:effectLst/>
                        </a:rPr>
                        <a:t>LxWxH</a:t>
                      </a:r>
                      <a:r>
                        <a:rPr lang="da-DK" sz="800" u="none" strike="noStrike">
                          <a:effectLst/>
                        </a:rPr>
                        <a:t>)</a:t>
                      </a:r>
                      <a:endParaRPr lang="da-DK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a-DK" sz="800" u="none" strike="noStrike">
                          <a:effectLst/>
                        </a:rPr>
                        <a:t>mm</a:t>
                      </a:r>
                      <a:endParaRPr lang="da-DK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800" u="none" strike="noStrike">
                          <a:effectLst/>
                        </a:rPr>
                        <a:t>398x340x395</a:t>
                      </a:r>
                      <a:endParaRPr lang="da-DK" sz="800" b="0" i="0" u="none" strike="noStrike"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671941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8795427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da-DK" sz="800" u="none" strike="noStrike">
                          <a:effectLst/>
                          <a:latin typeface="+mj-lt"/>
                        </a:rPr>
                        <a:t>Features</a:t>
                      </a:r>
                      <a:endParaRPr lang="da-DK" sz="800" b="1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1" i="0" u="none" strike="noStrike"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1" i="0" u="none" strike="noStrike"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460685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da-DK" sz="800" u="none" strike="noStrike" err="1">
                          <a:effectLst/>
                        </a:rPr>
                        <a:t>Detachable</a:t>
                      </a:r>
                      <a:r>
                        <a:rPr lang="da-DK" sz="800" u="none" strike="noStrike">
                          <a:effectLst/>
                        </a:rPr>
                        <a:t> </a:t>
                      </a:r>
                      <a:r>
                        <a:rPr lang="da-DK" sz="800" u="none" strike="noStrike" err="1">
                          <a:effectLst/>
                        </a:rPr>
                        <a:t>cord</a:t>
                      </a:r>
                      <a:endParaRPr lang="da-DK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1" i="0" u="none" strike="noStrike"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1" i="0" u="none" strike="noStrike"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/>
                          <a:cs typeface="+mn-cs"/>
                        </a:rPr>
                        <a:t>•</a:t>
                      </a: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7757088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da-DK" sz="800" u="none" strike="noStrike">
                          <a:effectLst/>
                        </a:rPr>
                        <a:t>HEPA Filtration</a:t>
                      </a:r>
                      <a:endParaRPr lang="da-DK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1" i="0" u="none" strike="noStrike"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1" i="0" u="none" strike="noStrike"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/>
                          <a:cs typeface="+mn-cs"/>
                        </a:rPr>
                        <a:t>•</a:t>
                      </a: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8163031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da-DK" sz="800" u="none" strike="noStrike" err="1">
                          <a:effectLst/>
                        </a:rPr>
                        <a:t>Recycled</a:t>
                      </a:r>
                      <a:r>
                        <a:rPr lang="da-DK" sz="800" u="none" strike="noStrike">
                          <a:effectLst/>
                        </a:rPr>
                        <a:t> </a:t>
                      </a:r>
                      <a:r>
                        <a:rPr lang="da-DK" sz="800" u="none" strike="noStrike" err="1">
                          <a:effectLst/>
                        </a:rPr>
                        <a:t>material</a:t>
                      </a:r>
                      <a:endParaRPr lang="da-DK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1" i="0" u="none" strike="noStrike"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1" i="0" u="none" strike="noStrike"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3527169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da-DK" sz="800" u="none" strike="noStrike">
                          <a:effectLst/>
                        </a:rPr>
                        <a:t>Durable </a:t>
                      </a:r>
                      <a:r>
                        <a:rPr lang="da-DK" sz="800" u="none" strike="noStrike" err="1">
                          <a:effectLst/>
                        </a:rPr>
                        <a:t>rewind</a:t>
                      </a:r>
                      <a:r>
                        <a:rPr lang="da-DK" sz="800" u="none" strike="noStrike">
                          <a:effectLst/>
                        </a:rPr>
                        <a:t> system</a:t>
                      </a:r>
                      <a:endParaRPr lang="da-DK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1" i="0" u="none" strike="noStrike"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1" i="0" u="none" strike="noStrike"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Roboto"/>
                          <a:cs typeface="+mn-cs"/>
                        </a:rPr>
                        <a:t>•</a:t>
                      </a: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5120494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da-DK" sz="800" u="none" strike="noStrike" err="1">
                          <a:effectLst/>
                        </a:rPr>
                        <a:t>Silent</a:t>
                      </a:r>
                      <a:r>
                        <a:rPr lang="da-DK" sz="800" u="none" strike="noStrike">
                          <a:effectLst/>
                        </a:rPr>
                        <a:t> mode</a:t>
                      </a:r>
                      <a:endParaRPr lang="da-DK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a-DK" sz="800" b="0" i="1" u="none" strike="noStrike"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6084239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da-DK" sz="800" u="none" strike="noStrike">
                          <a:effectLst/>
                        </a:rPr>
                        <a:t>Dual </a:t>
                      </a:r>
                      <a:r>
                        <a:rPr lang="da-DK" sz="800" u="none" strike="noStrike" err="1">
                          <a:effectLst/>
                        </a:rPr>
                        <a:t>cord</a:t>
                      </a:r>
                      <a:r>
                        <a:rPr lang="da-DK" sz="800" u="none" strike="noStrike">
                          <a:effectLst/>
                        </a:rPr>
                        <a:t> </a:t>
                      </a:r>
                      <a:r>
                        <a:rPr lang="da-DK" sz="800" u="none" strike="noStrike" err="1">
                          <a:effectLst/>
                        </a:rPr>
                        <a:t>storage</a:t>
                      </a:r>
                      <a:endParaRPr lang="da-DK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1" i="0" u="none" strike="noStrike"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1" i="0" u="none" strike="noStrike"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Roboto"/>
                          <a:cs typeface="+mn-cs"/>
                        </a:rPr>
                        <a:t>•</a:t>
                      </a: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8918601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da-DK" sz="800" u="none" strike="noStrike" err="1">
                          <a:effectLst/>
                        </a:rPr>
                        <a:t>Triple</a:t>
                      </a:r>
                      <a:r>
                        <a:rPr lang="da-DK" sz="800" u="none" strike="noStrike">
                          <a:effectLst/>
                        </a:rPr>
                        <a:t> </a:t>
                      </a:r>
                      <a:r>
                        <a:rPr lang="da-DK" sz="800" u="none" strike="noStrike" err="1">
                          <a:effectLst/>
                        </a:rPr>
                        <a:t>cord</a:t>
                      </a:r>
                      <a:r>
                        <a:rPr lang="da-DK" sz="800" u="none" strike="noStrike">
                          <a:effectLst/>
                        </a:rPr>
                        <a:t> </a:t>
                      </a:r>
                      <a:r>
                        <a:rPr lang="da-DK" sz="800" u="none" strike="noStrike" err="1">
                          <a:effectLst/>
                        </a:rPr>
                        <a:t>storage</a:t>
                      </a:r>
                      <a:endParaRPr lang="da-DK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1" i="0" u="none" strike="noStrike"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1" i="0" u="none" strike="noStrike"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4644208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da-DK" sz="800" u="none" strike="noStrike">
                          <a:effectLst/>
                        </a:rPr>
                        <a:t>Tube </a:t>
                      </a:r>
                      <a:r>
                        <a:rPr lang="da-DK" sz="800" u="none" strike="noStrike" err="1">
                          <a:effectLst/>
                        </a:rPr>
                        <a:t>parking</a:t>
                      </a:r>
                      <a:endParaRPr lang="da-DK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1" i="0" u="none" strike="noStrike"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1" i="0" u="none" strike="noStrike"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/>
                          <a:cs typeface="+mn-cs"/>
                        </a:rPr>
                        <a:t>•</a:t>
                      </a: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8734210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da-DK" sz="800" u="none" strike="noStrike">
                          <a:effectLst/>
                        </a:rPr>
                        <a:t>Tool </a:t>
                      </a:r>
                      <a:r>
                        <a:rPr lang="da-DK" sz="800" u="none" strike="noStrike" err="1">
                          <a:effectLst/>
                        </a:rPr>
                        <a:t>storage</a:t>
                      </a:r>
                      <a:endParaRPr lang="da-DK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1" i="0" u="none" strike="noStrike"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1" i="0" u="none" strike="noStrike"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/>
                          <a:cs typeface="+mn-cs"/>
                        </a:rPr>
                        <a:t>•</a:t>
                      </a:r>
                      <a:endParaRPr kumimoji="0" lang="da-DK" sz="8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2943811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da-DK" sz="800" u="none" strike="noStrike" err="1">
                          <a:effectLst/>
                        </a:rPr>
                        <a:t>Ergonomic</a:t>
                      </a:r>
                      <a:r>
                        <a:rPr lang="da-DK" sz="800" u="none" strike="noStrike">
                          <a:effectLst/>
                        </a:rPr>
                        <a:t> handle</a:t>
                      </a:r>
                      <a:endParaRPr lang="da-DK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1" i="0" u="none" strike="noStrike"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1" i="0" u="none" strike="noStrike"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/>
                          <a:cs typeface="+mn-cs"/>
                        </a:rPr>
                        <a:t>•</a:t>
                      </a:r>
                      <a:endParaRPr kumimoji="0" lang="da-DK" sz="8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9181581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da-DK" sz="800" u="none" strike="noStrike">
                          <a:effectLst/>
                        </a:rPr>
                        <a:t>Ergo </a:t>
                      </a:r>
                      <a:r>
                        <a:rPr lang="da-DK" sz="800" u="none" strike="noStrike" err="1">
                          <a:effectLst/>
                        </a:rPr>
                        <a:t>bent</a:t>
                      </a:r>
                      <a:r>
                        <a:rPr lang="da-DK" sz="800" u="none" strike="noStrike">
                          <a:effectLst/>
                        </a:rPr>
                        <a:t>-end</a:t>
                      </a:r>
                      <a:endParaRPr lang="da-DK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1" i="0" u="none" strike="noStrike"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1" i="0" u="none" strike="noStrike"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3165541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da-DK" sz="800" u="none" strike="noStrike">
                          <a:effectLst/>
                        </a:rPr>
                        <a:t>Ergo+ </a:t>
                      </a:r>
                      <a:r>
                        <a:rPr lang="da-DK" sz="800" u="none" strike="noStrike" err="1">
                          <a:effectLst/>
                        </a:rPr>
                        <a:t>bent</a:t>
                      </a:r>
                      <a:r>
                        <a:rPr lang="da-DK" sz="800" u="none" strike="noStrike">
                          <a:effectLst/>
                        </a:rPr>
                        <a:t>-end</a:t>
                      </a:r>
                      <a:endParaRPr lang="da-DK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1" i="0" u="none" strike="noStrike"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a-DK" sz="800" b="0" i="1" u="none" strike="noStrike"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Roboto"/>
                          <a:cs typeface="+mn-cs"/>
                        </a:rPr>
                        <a:t>•</a:t>
                      </a:r>
                      <a:endParaRPr kumimoji="0" lang="da-DK" sz="8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3458909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3258428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da-DK" sz="800" u="none" strike="noStrike" err="1">
                          <a:effectLst/>
                        </a:rPr>
                        <a:t>Dust</a:t>
                      </a:r>
                      <a:r>
                        <a:rPr lang="da-DK" sz="800" u="none" strike="noStrike">
                          <a:effectLst/>
                        </a:rPr>
                        <a:t> bags</a:t>
                      </a:r>
                      <a:endParaRPr lang="da-DK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800" u="none" strike="noStrike">
                          <a:effectLst/>
                        </a:rPr>
                        <a:t>1-P</a:t>
                      </a:r>
                      <a:endParaRPr lang="da-DK" sz="800" b="0" i="0" u="none" strike="noStrike"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62442489"/>
                  </a:ext>
                </a:extLst>
              </a:tr>
            </a:tbl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0C7B73D4-631A-1CDD-BA06-47C0DE82D05A}"/>
              </a:ext>
            </a:extLst>
          </p:cNvPr>
          <p:cNvSpPr txBox="1"/>
          <p:nvPr/>
        </p:nvSpPr>
        <p:spPr>
          <a:xfrm>
            <a:off x="475520" y="6301954"/>
            <a:ext cx="3276600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DK" sz="800"/>
              <a:t>*C</a:t>
            </a:r>
            <a:r>
              <a:rPr lang="en-GB" sz="800">
                <a:effectLst/>
              </a:rPr>
              <a:t>o-branded/private label models not included in sales presentation</a:t>
            </a:r>
            <a:endParaRPr lang="en-DK" sz="800"/>
          </a:p>
        </p:txBody>
      </p:sp>
    </p:spTree>
    <p:extLst>
      <p:ext uri="{BB962C8B-B14F-4D97-AF65-F5344CB8AC3E}">
        <p14:creationId xmlns:p14="http://schemas.microsoft.com/office/powerpoint/2010/main" val="41232679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Picture Placeholder 22">
            <a:extLst>
              <a:ext uri="{FF2B5EF4-FFF2-40B4-BE49-F238E27FC236}">
                <a16:creationId xmlns:a16="http://schemas.microsoft.com/office/drawing/2014/main" id="{D49B961A-E898-7274-0DCA-FFFF1F28E76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6" name="Footer Placeholder 15">
            <a:extLst>
              <a:ext uri="{FF2B5EF4-FFF2-40B4-BE49-F238E27FC236}">
                <a16:creationId xmlns:a16="http://schemas.microsoft.com/office/drawing/2014/main" id="{29D96D15-7BE0-A6F2-F44D-0BF394D7C0F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17" name="Slide Number Placeholder 16">
            <a:extLst>
              <a:ext uri="{FF2B5EF4-FFF2-40B4-BE49-F238E27FC236}">
                <a16:creationId xmlns:a16="http://schemas.microsoft.com/office/drawing/2014/main" id="{A4C2F0BF-8D97-91DF-0B15-AD7931D934B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2</a:t>
            </a:fld>
            <a:endParaRPr lang="en-US"/>
          </a:p>
        </p:txBody>
      </p:sp>
      <p:pic>
        <p:nvPicPr>
          <p:cNvPr id="34" name="Picture 33" descr="A blue and black gradient&#10;&#10;Description automatically generated">
            <a:extLst>
              <a:ext uri="{FF2B5EF4-FFF2-40B4-BE49-F238E27FC236}">
                <a16:creationId xmlns:a16="http://schemas.microsoft.com/office/drawing/2014/main" id="{0049FFD4-51D0-1E02-9E1C-773D0F0129D0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5" name="TextBox 34">
            <a:extLst>
              <a:ext uri="{FF2B5EF4-FFF2-40B4-BE49-F238E27FC236}">
                <a16:creationId xmlns:a16="http://schemas.microsoft.com/office/drawing/2014/main" id="{B6BB82AE-EF9A-2478-A45C-FD525D405235}"/>
              </a:ext>
            </a:extLst>
          </p:cNvPr>
          <p:cNvSpPr txBox="1"/>
          <p:nvPr/>
        </p:nvSpPr>
        <p:spPr>
          <a:xfrm>
            <a:off x="3033087" y="3152000"/>
            <a:ext cx="6125827" cy="830997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r>
              <a:rPr lang="en-DK" sz="1800" dirty="0">
                <a:solidFill>
                  <a:schemeClr val="bg1"/>
                </a:solidFill>
              </a:rPr>
              <a:t>Introducing the new Compact Dry Vacuum range </a:t>
            </a:r>
          </a:p>
          <a:p>
            <a:pPr algn="l"/>
            <a:r>
              <a:rPr lang="en-US" sz="3600" dirty="0">
                <a:solidFill>
                  <a:schemeClr val="bg1"/>
                </a:solidFill>
              </a:rPr>
              <a:t>A </a:t>
            </a:r>
            <a:r>
              <a:rPr lang="en-DK" sz="3600" dirty="0">
                <a:solidFill>
                  <a:schemeClr val="bg1"/>
                </a:solidFill>
              </a:rPr>
              <a:t>new formula for </a:t>
            </a:r>
            <a:r>
              <a:rPr lang="en-US" sz="3600" dirty="0">
                <a:solidFill>
                  <a:schemeClr val="bg1"/>
                </a:solidFill>
              </a:rPr>
              <a:t>simplicity</a:t>
            </a:r>
            <a:endParaRPr lang="en-US" sz="4000" dirty="0">
              <a:solidFill>
                <a:schemeClr val="bg1"/>
              </a:solidFill>
            </a:endParaRPr>
          </a:p>
        </p:txBody>
      </p:sp>
      <p:sp>
        <p:nvSpPr>
          <p:cNvPr id="36" name="Title 3">
            <a:extLst>
              <a:ext uri="{FF2B5EF4-FFF2-40B4-BE49-F238E27FC236}">
                <a16:creationId xmlns:a16="http://schemas.microsoft.com/office/drawing/2014/main" id="{1C86A25C-46D8-F12B-00FC-4C0EAD7E9DCD}"/>
              </a:ext>
            </a:extLst>
          </p:cNvPr>
          <p:cNvSpPr txBox="1">
            <a:spLocks/>
          </p:cNvSpPr>
          <p:nvPr/>
        </p:nvSpPr>
        <p:spPr>
          <a:xfrm>
            <a:off x="369888" y="476250"/>
            <a:ext cx="11233150" cy="406253"/>
          </a:xfrm>
          <a:prstGeom prst="rect">
            <a:avLst/>
          </a:prstGeom>
        </p:spPr>
        <p:txBody>
          <a:bodyPr/>
          <a:lstStyle>
            <a:lvl1pPr algn="l" defTabSz="1023967" rtl="0" eaLnBrk="1" latinLnBrk="0" hangingPunct="1">
              <a:lnSpc>
                <a:spcPts val="3100"/>
              </a:lnSpc>
              <a:spcBef>
                <a:spcPct val="0"/>
              </a:spcBef>
              <a:spcAft>
                <a:spcPts val="400"/>
              </a:spcAft>
              <a:buNone/>
              <a:tabLst>
                <a:tab pos="989013" algn="l"/>
              </a:tabLst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1600" b="0">
                <a:solidFill>
                  <a:schemeClr val="bg1"/>
                </a:solidFill>
                <a:latin typeface="+mn-lt"/>
              </a:rPr>
              <a:t>Key messaging</a:t>
            </a:r>
          </a:p>
        </p:txBody>
      </p:sp>
    </p:spTree>
    <p:extLst>
      <p:ext uri="{BB962C8B-B14F-4D97-AF65-F5344CB8AC3E}">
        <p14:creationId xmlns:p14="http://schemas.microsoft.com/office/powerpoint/2010/main" val="35823368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66C85F93-3220-05A7-2E0C-86CCF797AF0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6C85F93-3220-05A7-2E0C-86CCF797AF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1F6F35A-7257-A764-570F-24AE4544FFDA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 wrap="square" anchor="ctr">
            <a:normAutofit/>
          </a:bodyPr>
          <a:lstStyle/>
          <a:p>
            <a:pPr algn="l">
              <a:spcAft>
                <a:spcPts val="600"/>
              </a:spcAft>
            </a:pPr>
            <a:r>
              <a:rPr lang="en-US"/>
              <a:t>COMPANY 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5976AF4-76DB-9CF0-A0D1-7EFA6FC84B0A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 wrap="square" anchor="ctr">
            <a:normAutofit/>
          </a:bodyPr>
          <a:lstStyle/>
          <a:p>
            <a:pPr>
              <a:spcAft>
                <a:spcPts val="600"/>
              </a:spcAft>
            </a:pPr>
            <a:fld id="{6C385236-B7BA-4938-9EA6-6DEC8CA653D7}" type="slidenum">
              <a:rPr lang="en-US" smtClean="0"/>
              <a:pPr>
                <a:spcAft>
                  <a:spcPts val="600"/>
                </a:spcAft>
              </a:pPr>
              <a:t>20</a:t>
            </a:fld>
            <a:endParaRPr lang="en-US"/>
          </a:p>
        </p:txBody>
      </p:sp>
      <p:sp>
        <p:nvSpPr>
          <p:cNvPr id="34" name="Text Placeholder 33">
            <a:extLst>
              <a:ext uri="{FF2B5EF4-FFF2-40B4-BE49-F238E27FC236}">
                <a16:creationId xmlns:a16="http://schemas.microsoft.com/office/drawing/2014/main" id="{B3CA8A8F-46BB-82F4-9AF2-DA239F1C451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/>
              <a:t>How are the machines equipped?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9B9DB6AC-CAB3-0E0C-5ECF-D4B9A8ABE8F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t">
            <a:noAutofit/>
          </a:bodyPr>
          <a:lstStyle/>
          <a:p>
            <a:r>
              <a:rPr lang="en-US"/>
              <a:t>VP400 Configuration</a:t>
            </a: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0E797CDD-7CEB-8B6C-18C8-48D79E6937C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46568017"/>
              </p:ext>
            </p:extLst>
          </p:nvPr>
        </p:nvGraphicFramePr>
        <p:xfrm>
          <a:off x="4543425" y="113567"/>
          <a:ext cx="4545778" cy="64332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966039">
                  <a:extLst>
                    <a:ext uri="{9D8B030D-6E8A-4147-A177-3AD203B41FA5}">
                      <a16:colId xmlns:a16="http://schemas.microsoft.com/office/drawing/2014/main" val="543905876"/>
                    </a:ext>
                  </a:extLst>
                </a:gridCol>
                <a:gridCol w="643715">
                  <a:extLst>
                    <a:ext uri="{9D8B030D-6E8A-4147-A177-3AD203B41FA5}">
                      <a16:colId xmlns:a16="http://schemas.microsoft.com/office/drawing/2014/main" val="253498475"/>
                    </a:ext>
                  </a:extLst>
                </a:gridCol>
                <a:gridCol w="723655">
                  <a:extLst>
                    <a:ext uri="{9D8B030D-6E8A-4147-A177-3AD203B41FA5}">
                      <a16:colId xmlns:a16="http://schemas.microsoft.com/office/drawing/2014/main" val="171605684"/>
                    </a:ext>
                  </a:extLst>
                </a:gridCol>
                <a:gridCol w="122877">
                  <a:extLst>
                    <a:ext uri="{9D8B030D-6E8A-4147-A177-3AD203B41FA5}">
                      <a16:colId xmlns:a16="http://schemas.microsoft.com/office/drawing/2014/main" val="856117550"/>
                    </a:ext>
                  </a:extLst>
                </a:gridCol>
                <a:gridCol w="966615">
                  <a:extLst>
                    <a:ext uri="{9D8B030D-6E8A-4147-A177-3AD203B41FA5}">
                      <a16:colId xmlns:a16="http://schemas.microsoft.com/office/drawing/2014/main" val="957907716"/>
                    </a:ext>
                  </a:extLst>
                </a:gridCol>
                <a:gridCol w="122877">
                  <a:extLst>
                    <a:ext uri="{9D8B030D-6E8A-4147-A177-3AD203B41FA5}">
                      <a16:colId xmlns:a16="http://schemas.microsoft.com/office/drawing/2014/main" val="2180593944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l" fontAlgn="b"/>
                      <a:endParaRPr lang="da-DK" sz="900" b="1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a-DK" sz="900" u="none" strike="noStrike">
                          <a:effectLst/>
                          <a:latin typeface="+mj-lt"/>
                        </a:rPr>
                        <a:t>Country variant</a:t>
                      </a:r>
                      <a:endParaRPr lang="da-DK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900" b="1" u="none" strike="noStrike">
                          <a:effectLst/>
                          <a:latin typeface="+mj-lt"/>
                        </a:rPr>
                        <a:t>UK</a:t>
                      </a:r>
                      <a:endParaRPr lang="da-DK" sz="900" b="1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8740763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a-DK" sz="800" u="none" strike="noStrike">
                          <a:effectLst/>
                        </a:rPr>
                        <a:t>Item </a:t>
                      </a:r>
                      <a:r>
                        <a:rPr lang="da-DK" sz="800" u="none" strike="noStrike" err="1">
                          <a:effectLst/>
                        </a:rPr>
                        <a:t>number</a:t>
                      </a:r>
                      <a:endParaRPr lang="da-DK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DK" sz="800" u="none" strike="noStrike">
                          <a:effectLst/>
                        </a:rPr>
                        <a:t>107421170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0" i="0" u="none" strike="noStrike">
                        <a:solidFill>
                          <a:srgbClr val="EA350F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9039385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endParaRPr lang="en-US" sz="8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a-DK" sz="800" u="none" strike="noStrike" err="1">
                          <a:effectLst/>
                        </a:rPr>
                        <a:t>Description</a:t>
                      </a:r>
                      <a:endParaRPr lang="da-DK" sz="8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a-DK" sz="800" u="none" strike="noStrike">
                          <a:effectLst/>
                        </a:rPr>
                        <a:t>Note</a:t>
                      </a:r>
                      <a:endParaRPr lang="da-DK" sz="8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da-DK" sz="800" u="none" strike="noStrike">
                          <a:effectLst/>
                        </a:rPr>
                        <a:t>VP400 HEPA XECP UK</a:t>
                      </a:r>
                      <a:endParaRPr lang="da-DK" sz="8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EA350F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3687253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da-DK" sz="800" b="0" u="none" strike="noStrike">
                          <a:effectLst/>
                          <a:latin typeface="+mn-lt"/>
                        </a:rPr>
                        <a:t>Accessories </a:t>
                      </a:r>
                      <a:endParaRPr lang="da-DK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1" i="0" u="none" strike="noStrike"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1" i="0" u="none" strike="noStrike"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4321800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da-DK" sz="800" u="none" strike="noStrike">
                          <a:effectLst/>
                          <a:latin typeface="+mj-lt"/>
                        </a:rPr>
                        <a:t>Tubes</a:t>
                      </a:r>
                      <a:endParaRPr lang="da-DK" sz="800" b="1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1" i="0" u="none" strike="noStrike"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1" i="0" u="none" strike="noStrike"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8303743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</a:rPr>
                        <a:t>Extension Tube Steel D32 – Black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800" u="none" strike="noStrike">
                          <a:effectLst/>
                          <a:latin typeface="+mn-lt"/>
                        </a:rPr>
                        <a:t>140 8246 040</a:t>
                      </a:r>
                      <a:endParaRPr lang="en-US" sz="8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1" i="0" u="none" strike="noStrike"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2648119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da-DK" sz="800" u="none" strike="noStrike">
                          <a:effectLst/>
                        </a:rPr>
                        <a:t>Extension Tube Aluminium – Black</a:t>
                      </a:r>
                      <a:endParaRPr lang="da-DK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800" u="none" strike="noStrike">
                          <a:effectLst/>
                          <a:latin typeface="+mn-lt"/>
                        </a:rPr>
                        <a:t>107421471</a:t>
                      </a:r>
                      <a:endParaRPr lang="en-US" sz="8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a-DK" sz="800" u="none" strike="noStrike">
                          <a:effectLst/>
                        </a:rPr>
                        <a:t>new PN</a:t>
                      </a:r>
                      <a:endParaRPr lang="da-DK" sz="800" b="0" i="1" u="none" strike="noStrike"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Roboto"/>
                          <a:cs typeface="+mn-cs"/>
                        </a:rPr>
                        <a:t>•</a:t>
                      </a: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5881793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</a:rPr>
                        <a:t>Telescopic Tube </a:t>
                      </a:r>
                      <a:r>
                        <a:rPr lang="en-US" sz="800" u="none" strike="noStrike" err="1">
                          <a:effectLst/>
                        </a:rPr>
                        <a:t>Aluminium</a:t>
                      </a:r>
                      <a:r>
                        <a:rPr lang="en-US" sz="800" u="none" strike="noStrike">
                          <a:effectLst/>
                        </a:rPr>
                        <a:t> – Black/Blue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800" u="none" strike="noStrike">
                          <a:effectLst/>
                          <a:latin typeface="+mn-lt"/>
                        </a:rPr>
                        <a:t>107421463</a:t>
                      </a:r>
                      <a:endParaRPr lang="en-US" sz="8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a-DK" sz="800" u="none" strike="noStrike">
                          <a:effectLst/>
                        </a:rPr>
                        <a:t>new PN</a:t>
                      </a:r>
                      <a:endParaRPr lang="da-DK" sz="800" b="0" i="1" u="none" strike="noStrike"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985934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</a:rPr>
                        <a:t>Extension Tube Steel 450mm (short)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800" b="0" i="0" u="none" strike="noStrike">
                          <a:effectLst/>
                          <a:latin typeface="+mn-lt"/>
                        </a:rPr>
                        <a:t>140 8246 050</a:t>
                      </a: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a-DK" sz="800" b="0" i="1" u="none" strike="noStrike"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1349607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da-DK" sz="800" u="none" strike="noStrike">
                          <a:effectLst/>
                          <a:latin typeface="+mj-lt"/>
                        </a:rPr>
                        <a:t>Hose &amp; Bent-end</a:t>
                      </a:r>
                      <a:endParaRPr lang="da-DK" sz="800" b="1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0514086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da-DK" sz="800" u="none" strike="noStrike">
                          <a:effectLst/>
                        </a:rPr>
                        <a:t>Hose CPL W Bent-end D32</a:t>
                      </a:r>
                      <a:endParaRPr lang="da-DK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800" u="none" strike="noStrike">
                          <a:effectLst/>
                          <a:latin typeface="+mn-lt"/>
                        </a:rPr>
                        <a:t>107421450</a:t>
                      </a:r>
                      <a:endParaRPr lang="en-US" sz="8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0625286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da-DK" sz="800" u="none" strike="noStrike">
                          <a:effectLst/>
                        </a:rPr>
                        <a:t>Hose CPL W Bent-end PREM D32</a:t>
                      </a:r>
                      <a:endParaRPr lang="da-DK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800" u="none" strike="noStrike">
                          <a:effectLst/>
                          <a:latin typeface="+mn-lt"/>
                        </a:rPr>
                        <a:t>107421451</a:t>
                      </a:r>
                      <a:endParaRPr lang="en-US" sz="8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Roboto"/>
                          <a:cs typeface="+mn-cs"/>
                        </a:rPr>
                        <a:t>•</a:t>
                      </a: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441069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da-DK" sz="800" u="none" strike="noStrike">
                          <a:effectLst/>
                        </a:rPr>
                        <a:t>Bent-end</a:t>
                      </a:r>
                      <a:endParaRPr lang="da-DK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800" u="none" strike="noStrike">
                          <a:effectLst/>
                          <a:latin typeface="+mn-lt"/>
                        </a:rPr>
                        <a:t>107421446</a:t>
                      </a:r>
                      <a:endParaRPr lang="en-US" sz="8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186207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da-DK" sz="800" u="none" strike="noStrike">
                          <a:effectLst/>
                        </a:rPr>
                        <a:t>Bent-end PREM</a:t>
                      </a:r>
                      <a:endParaRPr lang="da-DK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800" u="none" strike="noStrike">
                          <a:effectLst/>
                          <a:latin typeface="+mn-lt"/>
                        </a:rPr>
                        <a:t>107421445</a:t>
                      </a:r>
                      <a:endParaRPr lang="en-US" sz="8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323953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da-DK" sz="800" u="none" strike="noStrike">
                          <a:effectLst/>
                        </a:rPr>
                        <a:t>Hose W Connectors </a:t>
                      </a:r>
                      <a:endParaRPr lang="da-DK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800" u="none" strike="noStrike">
                          <a:effectLst/>
                          <a:latin typeface="+mn-lt"/>
                        </a:rPr>
                        <a:t>107421449</a:t>
                      </a:r>
                      <a:endParaRPr lang="en-US" sz="8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0541418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da-DK" sz="800" u="none" strike="noStrike">
                          <a:effectLst/>
                          <a:latin typeface="+mj-lt"/>
                        </a:rPr>
                        <a:t>Floor </a:t>
                      </a:r>
                      <a:r>
                        <a:rPr lang="da-DK" sz="800" u="none" strike="noStrike" err="1">
                          <a:effectLst/>
                          <a:latin typeface="+mj-lt"/>
                        </a:rPr>
                        <a:t>Nozzles</a:t>
                      </a:r>
                      <a:r>
                        <a:rPr lang="da-DK" sz="800" u="none" strike="noStrike">
                          <a:effectLst/>
                          <a:latin typeface="+mj-lt"/>
                        </a:rPr>
                        <a:t> </a:t>
                      </a:r>
                      <a:endParaRPr lang="da-DK" sz="800" b="1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7774871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da-DK" sz="800" u="none" strike="noStrike">
                          <a:effectLst/>
                        </a:rPr>
                        <a:t>MULTI SURFACE NOZZLE</a:t>
                      </a:r>
                      <a:endParaRPr lang="da-DK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800" u="none" strike="noStrike">
                          <a:effectLst/>
                          <a:latin typeface="+mn-lt"/>
                        </a:rPr>
                        <a:t>140 6700 540</a:t>
                      </a:r>
                      <a:endParaRPr lang="en-US" sz="8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801647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da-DK" sz="800" u="none" strike="noStrike">
                          <a:effectLst/>
                        </a:rPr>
                        <a:t>COMBI NOZZLE RD295P W.CLIP</a:t>
                      </a:r>
                      <a:endParaRPr lang="da-DK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800" u="none" strike="noStrike">
                          <a:effectLst/>
                          <a:latin typeface="+mn-lt"/>
                        </a:rPr>
                        <a:t>107417790</a:t>
                      </a:r>
                      <a:endParaRPr lang="en-US" sz="8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Roboto"/>
                          <a:cs typeface="+mn-cs"/>
                        </a:rPr>
                        <a:t>•</a:t>
                      </a: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3811788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da-DK" sz="800" u="none" strike="noStrike">
                          <a:effectLst/>
                        </a:rPr>
                        <a:t>COMBI NOZZLE RD295</a:t>
                      </a:r>
                      <a:endParaRPr lang="da-DK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800" u="none" strike="noStrike">
                          <a:effectLst/>
                          <a:latin typeface="+mn-lt"/>
                        </a:rPr>
                        <a:t>140 8492 520</a:t>
                      </a:r>
                      <a:endParaRPr lang="en-US" sz="8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459819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da-DK" sz="800" u="none" strike="noStrike">
                          <a:effectLst/>
                        </a:rPr>
                        <a:t>COMBI NOZZLE RD277</a:t>
                      </a:r>
                      <a:endParaRPr lang="da-DK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800" u="none" strike="noStrike">
                          <a:effectLst/>
                          <a:latin typeface="+mn-lt"/>
                        </a:rPr>
                        <a:t>107411677</a:t>
                      </a:r>
                      <a:endParaRPr lang="en-US" sz="8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0457175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da-DK" sz="800" u="none" strike="noStrike">
                          <a:effectLst/>
                        </a:rPr>
                        <a:t>COMBI NOZZLE JP</a:t>
                      </a:r>
                      <a:endParaRPr lang="da-DK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800" u="none" strike="noStrike">
                          <a:effectLst/>
                          <a:latin typeface="+mn-lt"/>
                        </a:rPr>
                        <a:t>107405141</a:t>
                      </a:r>
                      <a:endParaRPr lang="en-US" sz="8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0873422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da-DK" sz="800" u="none" strike="noStrike">
                          <a:effectLst/>
                          <a:latin typeface="+mj-lt"/>
                        </a:rPr>
                        <a:t>Filters &amp; Bags</a:t>
                      </a:r>
                      <a:endParaRPr lang="da-DK" sz="800" b="1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8774826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da-DK" sz="800" u="none" strike="noStrike">
                          <a:effectLst/>
                        </a:rPr>
                        <a:t>HEPA 13 filter</a:t>
                      </a:r>
                      <a:endParaRPr lang="da-DK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800" u="none" strike="noStrike">
                          <a:effectLst/>
                          <a:latin typeface="+mn-lt"/>
                        </a:rPr>
                        <a:t>147 1250 </a:t>
                      </a:r>
                      <a:r>
                        <a:rPr lang="da-DK" sz="800" u="none" strike="noStrike">
                          <a:effectLst/>
                          <a:latin typeface="+mn-lt"/>
                        </a:rPr>
                        <a:t>6</a:t>
                      </a:r>
                      <a:r>
                        <a:rPr lang="en-DK" sz="800" u="none" strike="noStrike">
                          <a:effectLst/>
                          <a:latin typeface="+mn-lt"/>
                        </a:rPr>
                        <a:t>00</a:t>
                      </a:r>
                      <a:endParaRPr lang="en-US" sz="8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1" u="none" strike="noStrike"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Roboto"/>
                          <a:cs typeface="+mn-cs"/>
                        </a:rPr>
                        <a:t>•</a:t>
                      </a: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3421552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da-DK" sz="800" u="none" strike="noStrike">
                          <a:effectLst/>
                        </a:rPr>
                        <a:t>HEPA 14 filter</a:t>
                      </a:r>
                      <a:endParaRPr lang="da-DK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800" u="none" strike="noStrike">
                          <a:effectLst/>
                          <a:latin typeface="+mn-lt"/>
                        </a:rPr>
                        <a:t>107421443</a:t>
                      </a:r>
                      <a:endParaRPr lang="en-US" sz="8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1" u="none" strike="noStrike"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5799357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da-DK" sz="800" u="none" strike="noStrike">
                          <a:effectLst/>
                        </a:rPr>
                        <a:t>Standard filter</a:t>
                      </a:r>
                      <a:endParaRPr lang="da-DK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800" u="none" strike="noStrike">
                          <a:effectLst/>
                          <a:latin typeface="+mn-lt"/>
                        </a:rPr>
                        <a:t>107421444</a:t>
                      </a:r>
                      <a:endParaRPr lang="en-US" sz="8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1" u="none" strike="noStrike"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3590143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da-DK" sz="800" u="none" strike="noStrike" err="1">
                          <a:effectLst/>
                        </a:rPr>
                        <a:t>Sack</a:t>
                      </a:r>
                      <a:r>
                        <a:rPr lang="da-DK" sz="800" u="none" strike="noStrike">
                          <a:effectLst/>
                        </a:rPr>
                        <a:t> </a:t>
                      </a:r>
                      <a:r>
                        <a:rPr lang="da-DK" sz="800" u="none" strike="noStrike" err="1">
                          <a:effectLst/>
                        </a:rPr>
                        <a:t>Prefilter</a:t>
                      </a:r>
                      <a:endParaRPr lang="da-DK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800" u="none" strike="noStrike">
                          <a:effectLst/>
                          <a:latin typeface="+mn-lt"/>
                        </a:rPr>
                        <a:t>147 1432 500</a:t>
                      </a:r>
                      <a:endParaRPr lang="en-US" sz="8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/>
                          <a:cs typeface="+mn-cs"/>
                        </a:rPr>
                        <a:t>•</a:t>
                      </a: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5000609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da-DK" sz="800" u="none" strike="noStrike">
                          <a:effectLst/>
                        </a:rPr>
                        <a:t>Motor Filter</a:t>
                      </a:r>
                      <a:endParaRPr lang="da-DK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800" u="none" strike="noStrike">
                          <a:effectLst/>
                          <a:latin typeface="+mn-lt"/>
                        </a:rPr>
                        <a:t>140 1535 510</a:t>
                      </a:r>
                      <a:endParaRPr lang="en-US" sz="8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/>
                          <a:cs typeface="+mn-cs"/>
                        </a:rPr>
                        <a:t>•</a:t>
                      </a: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6424000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da-DK" sz="800" u="none" strike="noStrike">
                          <a:effectLst/>
                        </a:rPr>
                        <a:t>Fleece </a:t>
                      </a:r>
                      <a:r>
                        <a:rPr lang="da-DK" sz="800" u="none" strike="noStrike" err="1">
                          <a:effectLst/>
                        </a:rPr>
                        <a:t>Dust</a:t>
                      </a:r>
                      <a:r>
                        <a:rPr lang="da-DK" sz="800" u="none" strike="noStrike">
                          <a:effectLst/>
                        </a:rPr>
                        <a:t> Bag 10-P</a:t>
                      </a:r>
                      <a:endParaRPr lang="da-DK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800" u="none" strike="noStrike">
                          <a:effectLst/>
                          <a:latin typeface="+mn-lt"/>
                        </a:rPr>
                        <a:t>82367820</a:t>
                      </a:r>
                      <a:endParaRPr lang="en-US" sz="8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>
                        <a:solidFill>
                          <a:srgbClr val="F79646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6499513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da-DK" sz="800" u="none" strike="noStrike">
                          <a:effectLst/>
                        </a:rPr>
                        <a:t>Paper </a:t>
                      </a:r>
                      <a:r>
                        <a:rPr lang="da-DK" sz="800" u="none" strike="noStrike" err="1">
                          <a:effectLst/>
                        </a:rPr>
                        <a:t>Dust</a:t>
                      </a:r>
                      <a:r>
                        <a:rPr lang="da-DK" sz="800" u="none" strike="noStrike">
                          <a:effectLst/>
                        </a:rPr>
                        <a:t> Bag 5-P</a:t>
                      </a:r>
                      <a:endParaRPr lang="da-DK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800" u="none" strike="noStrike">
                          <a:effectLst/>
                          <a:latin typeface="+mn-lt"/>
                        </a:rPr>
                        <a:t>82367810</a:t>
                      </a:r>
                      <a:endParaRPr lang="en-US" sz="8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7875224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da-DK" sz="800" u="none" strike="noStrike">
                          <a:effectLst/>
                        </a:rPr>
                        <a:t>Paper </a:t>
                      </a:r>
                      <a:r>
                        <a:rPr lang="da-DK" sz="800" u="none" strike="noStrike" err="1">
                          <a:effectLst/>
                        </a:rPr>
                        <a:t>Dust</a:t>
                      </a:r>
                      <a:r>
                        <a:rPr lang="da-DK" sz="800" u="none" strike="noStrike">
                          <a:effectLst/>
                        </a:rPr>
                        <a:t> Bag 10-P</a:t>
                      </a:r>
                      <a:endParaRPr lang="da-DK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800" u="none" strike="noStrike">
                          <a:effectLst/>
                          <a:latin typeface="+mn-lt"/>
                        </a:rPr>
                        <a:t>140 8618 000</a:t>
                      </a:r>
                      <a:endParaRPr lang="en-US" sz="8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6735029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da-DK" sz="800" u="none" strike="noStrike" err="1">
                          <a:effectLst/>
                        </a:rPr>
                        <a:t>Reusable</a:t>
                      </a:r>
                      <a:r>
                        <a:rPr lang="da-DK" sz="800" u="none" strike="noStrike">
                          <a:effectLst/>
                        </a:rPr>
                        <a:t> </a:t>
                      </a:r>
                      <a:r>
                        <a:rPr lang="da-DK" sz="800" u="none" strike="noStrike" err="1">
                          <a:effectLst/>
                        </a:rPr>
                        <a:t>dust</a:t>
                      </a:r>
                      <a:r>
                        <a:rPr lang="da-DK" sz="800" u="none" strike="noStrike">
                          <a:effectLst/>
                        </a:rPr>
                        <a:t> bag 1-P (</a:t>
                      </a:r>
                      <a:r>
                        <a:rPr lang="da-DK" sz="800" u="none" strike="noStrike" err="1">
                          <a:effectLst/>
                        </a:rPr>
                        <a:t>cloth</a:t>
                      </a:r>
                      <a:r>
                        <a:rPr lang="da-DK" sz="800" u="none" strike="noStrike">
                          <a:effectLst/>
                        </a:rPr>
                        <a:t>)</a:t>
                      </a:r>
                      <a:endParaRPr lang="da-DK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800" u="none" strike="noStrike">
                          <a:effectLst/>
                          <a:latin typeface="+mn-lt"/>
                        </a:rPr>
                        <a:t>22251800</a:t>
                      </a:r>
                      <a:endParaRPr lang="en-US" sz="8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916531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da-DK" sz="800" u="none" strike="noStrike">
                          <a:effectLst/>
                        </a:rPr>
                        <a:t>Maintenance Kit VP300 – LIGHT</a:t>
                      </a:r>
                      <a:endParaRPr lang="da-DK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800" u="none" strike="noStrike">
                          <a:effectLst/>
                          <a:latin typeface="+mn-lt"/>
                        </a:rPr>
                        <a:t>107421454</a:t>
                      </a:r>
                      <a:endParaRPr lang="en-US" sz="8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a-DK" sz="800" u="none" strike="noStrike" err="1">
                          <a:effectLst/>
                        </a:rPr>
                        <a:t>fits</a:t>
                      </a:r>
                      <a:r>
                        <a:rPr lang="da-DK" sz="800" u="none" strike="noStrike">
                          <a:effectLst/>
                        </a:rPr>
                        <a:t> </a:t>
                      </a:r>
                      <a:r>
                        <a:rPr lang="da-DK" sz="800" u="none" strike="noStrike" err="1">
                          <a:effectLst/>
                        </a:rPr>
                        <a:t>also</a:t>
                      </a:r>
                      <a:r>
                        <a:rPr lang="da-DK" sz="800" u="none" strike="noStrike">
                          <a:effectLst/>
                        </a:rPr>
                        <a:t> VP400</a:t>
                      </a:r>
                      <a:endParaRPr lang="da-DK" sz="800" b="0" i="1" u="none" strike="noStrike"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4141062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da-DK" sz="800" u="none" strike="noStrike">
                          <a:effectLst/>
                        </a:rPr>
                        <a:t>Maintenance Kit VP300 – PLUS</a:t>
                      </a:r>
                      <a:endParaRPr lang="da-DK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800" u="none" strike="noStrike">
                          <a:effectLst/>
                          <a:latin typeface="+mn-lt"/>
                        </a:rPr>
                        <a:t>107421455</a:t>
                      </a:r>
                      <a:endParaRPr lang="en-US" sz="8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a-DK" sz="800" u="none" strike="noStrike" err="1">
                          <a:effectLst/>
                        </a:rPr>
                        <a:t>fits</a:t>
                      </a:r>
                      <a:r>
                        <a:rPr lang="da-DK" sz="800" u="none" strike="noStrike">
                          <a:effectLst/>
                        </a:rPr>
                        <a:t> </a:t>
                      </a:r>
                      <a:r>
                        <a:rPr lang="da-DK" sz="800" u="none" strike="noStrike" err="1">
                          <a:effectLst/>
                        </a:rPr>
                        <a:t>also</a:t>
                      </a:r>
                      <a:r>
                        <a:rPr lang="da-DK" sz="800" u="none" strike="noStrike">
                          <a:effectLst/>
                        </a:rPr>
                        <a:t> VP400</a:t>
                      </a:r>
                      <a:endParaRPr lang="da-DK" sz="800" b="0" i="1" u="none" strike="noStrike"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7500685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da-DK" sz="800" u="none" strike="noStrike" err="1">
                          <a:effectLst/>
                          <a:latin typeface="+mj-lt"/>
                        </a:rPr>
                        <a:t>Other</a:t>
                      </a:r>
                      <a:r>
                        <a:rPr lang="da-DK" sz="800" u="none" strike="noStrike">
                          <a:effectLst/>
                          <a:latin typeface="+mj-lt"/>
                        </a:rPr>
                        <a:t> </a:t>
                      </a:r>
                      <a:r>
                        <a:rPr lang="da-DK" sz="800" u="none" strike="noStrike" err="1">
                          <a:effectLst/>
                          <a:latin typeface="+mj-lt"/>
                        </a:rPr>
                        <a:t>accessories</a:t>
                      </a:r>
                      <a:endParaRPr lang="da-DK" sz="800" b="1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49507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da-DK" sz="800" u="none" strike="noStrike" err="1">
                          <a:effectLst/>
                        </a:rPr>
                        <a:t>Round</a:t>
                      </a:r>
                      <a:r>
                        <a:rPr lang="da-DK" sz="800" u="none" strike="noStrike">
                          <a:effectLst/>
                        </a:rPr>
                        <a:t> </a:t>
                      </a:r>
                      <a:r>
                        <a:rPr lang="da-DK" sz="800" u="none" strike="noStrike" err="1">
                          <a:effectLst/>
                        </a:rPr>
                        <a:t>brush</a:t>
                      </a:r>
                      <a:endParaRPr lang="da-DK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800" u="none" strike="noStrike">
                          <a:effectLst/>
                          <a:latin typeface="+mn-lt"/>
                        </a:rPr>
                        <a:t>140 8244 500</a:t>
                      </a:r>
                      <a:endParaRPr lang="en-US" sz="8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/>
                          <a:cs typeface="+mn-cs"/>
                        </a:rPr>
                        <a:t>•</a:t>
                      </a: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7356866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da-DK" sz="800" u="none" strike="noStrike" err="1">
                          <a:effectLst/>
                        </a:rPr>
                        <a:t>Crevice</a:t>
                      </a:r>
                      <a:r>
                        <a:rPr lang="da-DK" sz="800" u="none" strike="noStrike">
                          <a:effectLst/>
                        </a:rPr>
                        <a:t> </a:t>
                      </a:r>
                      <a:r>
                        <a:rPr lang="da-DK" sz="800" u="none" strike="noStrike" err="1">
                          <a:effectLst/>
                        </a:rPr>
                        <a:t>Nozzle</a:t>
                      </a:r>
                      <a:endParaRPr lang="da-DK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800" u="none" strike="noStrike">
                          <a:effectLst/>
                          <a:latin typeface="+mn-lt"/>
                        </a:rPr>
                        <a:t>147 0146 500</a:t>
                      </a:r>
                      <a:endParaRPr lang="en-US" sz="8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a-DK" sz="800" b="0" i="1" u="none" strike="noStrike">
                        <a:solidFill>
                          <a:srgbClr val="F79646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/>
                          <a:cs typeface="+mn-cs"/>
                        </a:rPr>
                        <a:t>•</a:t>
                      </a: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7459590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da-DK" sz="800" u="none" strike="noStrike">
                          <a:effectLst/>
                        </a:rPr>
                        <a:t>Premium HF </a:t>
                      </a:r>
                      <a:r>
                        <a:rPr lang="da-DK" sz="800" u="none" strike="noStrike" err="1">
                          <a:effectLst/>
                        </a:rPr>
                        <a:t>nozzle</a:t>
                      </a:r>
                      <a:r>
                        <a:rPr lang="da-DK" sz="800" u="none" strike="noStrike">
                          <a:effectLst/>
                        </a:rPr>
                        <a:t> 350mm</a:t>
                      </a:r>
                      <a:endParaRPr lang="da-DK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800" u="none" strike="noStrike">
                          <a:effectLst/>
                          <a:latin typeface="+mn-lt"/>
                        </a:rPr>
                        <a:t>107413080</a:t>
                      </a:r>
                      <a:endParaRPr lang="en-US" sz="8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a-DK" sz="800" u="none" strike="noStrike" err="1">
                          <a:effectLst/>
                        </a:rPr>
                        <a:t>grey</a:t>
                      </a:r>
                      <a:r>
                        <a:rPr lang="da-DK" sz="800" u="none" strike="noStrike">
                          <a:effectLst/>
                        </a:rPr>
                        <a:t> </a:t>
                      </a:r>
                      <a:r>
                        <a:rPr lang="da-DK" sz="800" u="none" strike="noStrike" err="1">
                          <a:effectLst/>
                        </a:rPr>
                        <a:t>currently</a:t>
                      </a:r>
                      <a:endParaRPr lang="da-DK" sz="800" b="0" i="1" u="none" strike="noStrike"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1256004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da-DK" sz="800" u="none" strike="noStrike">
                          <a:effectLst/>
                        </a:rPr>
                        <a:t>Premium HF </a:t>
                      </a:r>
                      <a:r>
                        <a:rPr lang="da-DK" sz="800" u="none" strike="noStrike" err="1">
                          <a:effectLst/>
                        </a:rPr>
                        <a:t>nozzle</a:t>
                      </a:r>
                      <a:r>
                        <a:rPr lang="da-DK" sz="800" u="none" strike="noStrike">
                          <a:effectLst/>
                        </a:rPr>
                        <a:t> 495mm</a:t>
                      </a:r>
                      <a:endParaRPr lang="da-DK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800" u="none" strike="noStrike">
                          <a:effectLst/>
                          <a:latin typeface="+mn-lt"/>
                        </a:rPr>
                        <a:t>107413081</a:t>
                      </a:r>
                      <a:endParaRPr lang="en-US" sz="8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a-DK" sz="800" u="none" strike="noStrike" err="1">
                          <a:effectLst/>
                        </a:rPr>
                        <a:t>grey</a:t>
                      </a:r>
                      <a:r>
                        <a:rPr lang="da-DK" sz="800" u="none" strike="noStrike">
                          <a:effectLst/>
                        </a:rPr>
                        <a:t> </a:t>
                      </a:r>
                      <a:r>
                        <a:rPr lang="da-DK" sz="800" u="none" strike="noStrike" err="1">
                          <a:effectLst/>
                        </a:rPr>
                        <a:t>currently</a:t>
                      </a:r>
                      <a:endParaRPr lang="da-DK" sz="800" b="0" i="1" u="none" strike="noStrike"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6043094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da-DK" sz="800" u="none" strike="noStrike">
                          <a:effectLst/>
                        </a:rPr>
                        <a:t>Radiator </a:t>
                      </a:r>
                      <a:r>
                        <a:rPr lang="da-DK" sz="800" u="none" strike="noStrike" err="1">
                          <a:effectLst/>
                        </a:rPr>
                        <a:t>crevice</a:t>
                      </a:r>
                      <a:endParaRPr lang="da-DK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800" u="none" strike="noStrike">
                          <a:effectLst/>
                          <a:latin typeface="+mn-lt"/>
                        </a:rPr>
                        <a:t>81530400</a:t>
                      </a:r>
                      <a:endParaRPr lang="en-US" sz="8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a-DK" sz="800" u="none" strike="noStrike" err="1">
                          <a:effectLst/>
                        </a:rPr>
                        <a:t>grey</a:t>
                      </a:r>
                      <a:r>
                        <a:rPr lang="da-DK" sz="800" u="none" strike="noStrike">
                          <a:effectLst/>
                        </a:rPr>
                        <a:t> </a:t>
                      </a:r>
                      <a:r>
                        <a:rPr lang="da-DK" sz="800" u="none" strike="noStrike" err="1">
                          <a:effectLst/>
                        </a:rPr>
                        <a:t>currently</a:t>
                      </a:r>
                      <a:endParaRPr lang="da-DK" sz="800" b="0" i="1" u="none" strike="noStrike"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43289539"/>
                  </a:ext>
                </a:extLst>
              </a:tr>
            </a:tbl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8792BD4B-A2DB-697B-2604-CF8EFE0403B0}"/>
              </a:ext>
            </a:extLst>
          </p:cNvPr>
          <p:cNvSpPr txBox="1"/>
          <p:nvPr/>
        </p:nvSpPr>
        <p:spPr>
          <a:xfrm>
            <a:off x="475520" y="6301954"/>
            <a:ext cx="3276600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DK" sz="800"/>
              <a:t>*C</a:t>
            </a:r>
            <a:r>
              <a:rPr lang="en-GB" sz="800">
                <a:effectLst/>
              </a:rPr>
              <a:t>o-branded/private label models not included in sales presentation</a:t>
            </a:r>
            <a:endParaRPr lang="en-DK" sz="800"/>
          </a:p>
        </p:txBody>
      </p:sp>
    </p:spTree>
    <p:extLst>
      <p:ext uri="{BB962C8B-B14F-4D97-AF65-F5344CB8AC3E}">
        <p14:creationId xmlns:p14="http://schemas.microsoft.com/office/powerpoint/2010/main" val="7654311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0BD2A058-3B3F-B3DC-B621-8EF62D24E53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BD2A058-3B3F-B3DC-B621-8EF62D24E53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1F6F35A-7257-A764-570F-24AE4544FFDA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 wrap="square" anchor="ctr">
            <a:normAutofit/>
          </a:bodyPr>
          <a:lstStyle/>
          <a:p>
            <a:pPr algn="l">
              <a:spcAft>
                <a:spcPts val="600"/>
              </a:spcAft>
            </a:pPr>
            <a:r>
              <a:rPr lang="en-US"/>
              <a:t>COMPANY 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5976AF4-76DB-9CF0-A0D1-7EFA6FC84B0A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 wrap="square" anchor="ctr">
            <a:normAutofit/>
          </a:bodyPr>
          <a:lstStyle/>
          <a:p>
            <a:pPr>
              <a:spcAft>
                <a:spcPts val="600"/>
              </a:spcAft>
            </a:pPr>
            <a:fld id="{6C385236-B7BA-4938-9EA6-6DEC8CA653D7}" type="slidenum">
              <a:rPr lang="en-US" smtClean="0"/>
              <a:pPr>
                <a:spcAft>
                  <a:spcPts val="600"/>
                </a:spcAft>
              </a:pPr>
              <a:t>21</a:t>
            </a:fld>
            <a:endParaRPr lang="en-U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D9293DB7-18D8-7025-D233-9183D666004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>
            <a:normAutofit/>
          </a:bodyPr>
          <a:lstStyle/>
          <a:p>
            <a:r>
              <a:rPr lang="en-US"/>
              <a:t>New Global PNs*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9B9DB6AC-CAB3-0E0C-5ECF-D4B9A8ABE8F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t">
            <a:noAutofit/>
          </a:bodyPr>
          <a:lstStyle/>
          <a:p>
            <a:r>
              <a:rPr lang="en-US"/>
              <a:t>VP300 Hierarchy</a:t>
            </a:r>
          </a:p>
        </p:txBody>
      </p:sp>
      <p:graphicFrame>
        <p:nvGraphicFramePr>
          <p:cNvPr id="10" name="Table 9">
            <a:extLst>
              <a:ext uri="{FF2B5EF4-FFF2-40B4-BE49-F238E27FC236}">
                <a16:creationId xmlns:a16="http://schemas.microsoft.com/office/drawing/2014/main" id="{26EE3458-A28C-B948-960B-FCE1FB46C26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74075145"/>
              </p:ext>
            </p:extLst>
          </p:nvPr>
        </p:nvGraphicFramePr>
        <p:xfrm>
          <a:off x="478692" y="1250461"/>
          <a:ext cx="5646749" cy="4808040"/>
        </p:xfrm>
        <a:graphic>
          <a:graphicData uri="http://schemas.openxmlformats.org/drawingml/2006/table">
            <a:tbl>
              <a:tblPr firstRow="1"/>
              <a:tblGrid>
                <a:gridCol w="1312543">
                  <a:extLst>
                    <a:ext uri="{9D8B030D-6E8A-4147-A177-3AD203B41FA5}">
                      <a16:colId xmlns:a16="http://schemas.microsoft.com/office/drawing/2014/main" val="1037348348"/>
                    </a:ext>
                  </a:extLst>
                </a:gridCol>
                <a:gridCol w="1162008">
                  <a:extLst>
                    <a:ext uri="{9D8B030D-6E8A-4147-A177-3AD203B41FA5}">
                      <a16:colId xmlns:a16="http://schemas.microsoft.com/office/drawing/2014/main" val="1201817649"/>
                    </a:ext>
                  </a:extLst>
                </a:gridCol>
                <a:gridCol w="1038066">
                  <a:extLst>
                    <a:ext uri="{9D8B030D-6E8A-4147-A177-3AD203B41FA5}">
                      <a16:colId xmlns:a16="http://schemas.microsoft.com/office/drawing/2014/main" val="1468763889"/>
                    </a:ext>
                  </a:extLst>
                </a:gridCol>
                <a:gridCol w="2134132">
                  <a:extLst>
                    <a:ext uri="{9D8B030D-6E8A-4147-A177-3AD203B41FA5}">
                      <a16:colId xmlns:a16="http://schemas.microsoft.com/office/drawing/2014/main" val="1868493934"/>
                    </a:ext>
                  </a:extLst>
                </a:gridCol>
              </a:tblGrid>
              <a:tr h="245734">
                <a:tc>
                  <a:txBody>
                    <a:bodyPr/>
                    <a:lstStyle/>
                    <a:p>
                      <a:pPr algn="l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200" b="0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Platform – L4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200" b="0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Variant – L5 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200" b="0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PN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200" b="0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achine Level – L6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12414391"/>
                  </a:ext>
                </a:extLst>
              </a:tr>
              <a:tr h="236282">
                <a:tc rowSpan="19">
                  <a:txBody>
                    <a:bodyPr/>
                    <a:lstStyle/>
                    <a:p>
                      <a:pPr algn="l" fontAlgn="b"/>
                      <a:r>
                        <a:rPr lang="da-DK" sz="11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97452 – VP300 ll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da-DK" sz="11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VP300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DK" sz="11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07421148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da-DK" sz="11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VP300 HEPA C US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24075351"/>
                  </a:ext>
                </a:extLst>
              </a:tr>
              <a:tr h="236282">
                <a:tc vMerge="1">
                  <a:txBody>
                    <a:bodyPr/>
                    <a:lstStyle/>
                    <a:p>
                      <a:pPr algn="l" fontAlgn="b"/>
                      <a:endParaRPr lang="da-DK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da-DK" sz="11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VP300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DK" sz="11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07421155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da-DK" sz="11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VP300 ZA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20139957"/>
                  </a:ext>
                </a:extLst>
              </a:tr>
              <a:tr h="236282">
                <a:tc vMerge="1">
                  <a:txBody>
                    <a:bodyPr/>
                    <a:lstStyle/>
                    <a:p>
                      <a:pPr algn="l" fontAlgn="b"/>
                      <a:endParaRPr lang="da-DK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da-DK" sz="11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VP300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DK" sz="11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07421152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a-DK" sz="11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VP300 C AU/NZ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37979708"/>
                  </a:ext>
                </a:extLst>
              </a:tr>
              <a:tr h="236282">
                <a:tc vMerge="1">
                  <a:txBody>
                    <a:bodyPr/>
                    <a:lstStyle/>
                    <a:p>
                      <a:pPr algn="l" fontAlgn="b"/>
                      <a:endParaRPr lang="da-DK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da-DK" sz="11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VP300 Basic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DK" sz="11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07421150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da-DK" sz="11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VP300 R BASIC XC JP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31024149"/>
                  </a:ext>
                </a:extLst>
              </a:tr>
              <a:tr h="236282">
                <a:tc vMerge="1">
                  <a:txBody>
                    <a:bodyPr/>
                    <a:lstStyle/>
                    <a:p>
                      <a:pPr algn="l" fontAlgn="b"/>
                      <a:endParaRPr lang="da-DK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da-DK" sz="11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VP300 Basic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DK" sz="11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07421154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da-DK" sz="11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VP300 BASIC C CN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09748229"/>
                  </a:ext>
                </a:extLst>
              </a:tr>
              <a:tr h="236282">
                <a:tc vMerge="1">
                  <a:txBody>
                    <a:bodyPr/>
                    <a:lstStyle/>
                    <a:p>
                      <a:pPr algn="l" fontAlgn="b"/>
                      <a:endParaRPr lang="da-DK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da-DK" sz="11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VP300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DK" sz="11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07421153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fr-FR" sz="11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VP300 HEPA TC AU/NZ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38704215"/>
                  </a:ext>
                </a:extLst>
              </a:tr>
              <a:tr h="236282">
                <a:tc vMerge="1">
                  <a:txBody>
                    <a:bodyPr/>
                    <a:lstStyle/>
                    <a:p>
                      <a:pPr algn="l" fontAlgn="b"/>
                      <a:endParaRPr lang="da-DK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da-DK" sz="11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VP300 Basic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DK" sz="11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07421151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1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VP300 R HEPA BASIC XC JP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46722413"/>
                  </a:ext>
                </a:extLst>
              </a:tr>
              <a:tr h="236282">
                <a:tc vMerge="1">
                  <a:txBody>
                    <a:bodyPr/>
                    <a:lstStyle/>
                    <a:p>
                      <a:pPr algn="l" fontAlgn="b"/>
                      <a:endParaRPr lang="da-DK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da-DK" sz="11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VP300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DK" sz="11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07421158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da-DK" sz="11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VP300 HEPA XT CN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52550957"/>
                  </a:ext>
                </a:extLst>
              </a:tr>
              <a:tr h="236282">
                <a:tc vMerge="1">
                  <a:txBody>
                    <a:bodyPr/>
                    <a:lstStyle/>
                    <a:p>
                      <a:pPr algn="l" fontAlgn="b"/>
                      <a:endParaRPr lang="da-DK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da-DK" sz="11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VP300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DK" sz="11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07421160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da-DK" sz="11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VP300 HEPA PINK EC AU/NZ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99784396"/>
                  </a:ext>
                </a:extLst>
              </a:tr>
              <a:tr h="236282"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da-DK" sz="11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VP300 S2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DK" sz="11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07421142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1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VP300 HEPA EP S2 EU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20103248"/>
                  </a:ext>
                </a:extLst>
              </a:tr>
              <a:tr h="236282">
                <a:tc vMerge="1">
                  <a:txBody>
                    <a:bodyPr/>
                    <a:lstStyle/>
                    <a:p>
                      <a:pPr algn="ctr" fontAlgn="b"/>
                      <a:endParaRPr lang="da-DK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da-DK" sz="11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VP300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DK" sz="11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07421143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da-DK" sz="11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VP300 HEPA EC EU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15154211"/>
                  </a:ext>
                </a:extLst>
              </a:tr>
              <a:tr h="236282">
                <a:tc vMerge="1">
                  <a:txBody>
                    <a:bodyPr/>
                    <a:lstStyle/>
                    <a:p>
                      <a:pPr algn="ctr" fontAlgn="b"/>
                      <a:endParaRPr lang="da-DK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da-DK" sz="11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VP300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DK" sz="11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07421145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da-DK" sz="11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VP300 HEPA XT EU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03087459"/>
                  </a:ext>
                </a:extLst>
              </a:tr>
              <a:tr h="236282">
                <a:tc vMerge="1">
                  <a:txBody>
                    <a:bodyPr/>
                    <a:lstStyle/>
                    <a:p>
                      <a:pPr algn="ctr" fontAlgn="b"/>
                      <a:endParaRPr lang="da-DK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da-DK" sz="11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VP300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DK" sz="11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07421156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fr-FR" sz="11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VP300 HEPA PINK T EU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10805351"/>
                  </a:ext>
                </a:extLst>
              </a:tr>
              <a:tr h="236282">
                <a:tc vMerge="1">
                  <a:txBody>
                    <a:bodyPr/>
                    <a:lstStyle/>
                    <a:p>
                      <a:pPr algn="ctr" fontAlgn="b"/>
                      <a:endParaRPr lang="da-DK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da-DK" sz="11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VP300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DK" sz="11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07421149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da-DK" sz="11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VP300 HEPA TC CH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37593173"/>
                  </a:ext>
                </a:extLst>
              </a:tr>
              <a:tr h="236282">
                <a:tc vMerge="1">
                  <a:txBody>
                    <a:bodyPr/>
                    <a:lstStyle/>
                    <a:p>
                      <a:pPr algn="ctr" fontAlgn="b"/>
                      <a:endParaRPr lang="da-DK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da-DK" sz="11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VP300 Basic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DK" sz="11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07421144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da-DK" sz="11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VP300 HEPA BASIC EU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26615295"/>
                  </a:ext>
                </a:extLst>
              </a:tr>
              <a:tr h="236282">
                <a:tc vMerge="1">
                  <a:txBody>
                    <a:bodyPr/>
                    <a:lstStyle/>
                    <a:p>
                      <a:pPr algn="ctr" fontAlgn="b"/>
                      <a:endParaRPr lang="da-DK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da-DK" sz="11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VP300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DK" sz="11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07421146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da-DK" sz="11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VP300 HEPA C UK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24898239"/>
                  </a:ext>
                </a:extLst>
              </a:tr>
              <a:tr h="236282">
                <a:tc vMerge="1">
                  <a:txBody>
                    <a:bodyPr/>
                    <a:lstStyle/>
                    <a:p>
                      <a:pPr algn="ctr" fontAlgn="b"/>
                      <a:endParaRPr lang="da-DK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da-DK" sz="11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VP300 S2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DK" sz="11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07421147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nl-NL" sz="11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VP300 HEPA ECP S2 UK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41769734"/>
                  </a:ext>
                </a:extLst>
              </a:tr>
              <a:tr h="236282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l" rtl="0">
                        <a:buNone/>
                      </a:pPr>
                      <a:r>
                        <a:rPr lang="da-DK" sz="11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VP300</a:t>
                      </a:r>
                      <a:endParaRPr lang="en-US" sz="1100"/>
                    </a:p>
                  </a:txBody>
                  <a:tcPr marL="0" marR="0" marT="36000" marB="36000" anchor="ctr">
                    <a:lnL w="0">
                      <a:noFill/>
                    </a:lnL>
                    <a:lnR w="0">
                      <a:noFill/>
                    </a:lnR>
                    <a:lnT w="12700">
                      <a:solidFill>
                        <a:schemeClr val="bg2"/>
                      </a:solidFill>
                    </a:lnT>
                    <a:lnB w="12700">
                      <a:solidFill>
                        <a:schemeClr val="bg2"/>
                      </a:solidFill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l" rtl="0">
                        <a:buNone/>
                      </a:pPr>
                      <a:r>
                        <a:rPr lang="en-DK" sz="11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07421157</a:t>
                      </a:r>
                      <a:endParaRPr lang="en-US" sz="1100"/>
                    </a:p>
                  </a:txBody>
                  <a:tcPr marL="0" marR="0" marT="36000" marB="36000" anchor="ctr">
                    <a:lnL w="0">
                      <a:noFill/>
                    </a:lnL>
                    <a:lnR w="0">
                      <a:noFill/>
                    </a:lnR>
                    <a:lnT w="12700">
                      <a:solidFill>
                        <a:schemeClr val="bg2"/>
                      </a:solidFill>
                    </a:lnT>
                    <a:lnB w="12700">
                      <a:solidFill>
                        <a:schemeClr val="bg2"/>
                      </a:solidFill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l" rtl="0">
                        <a:buNone/>
                      </a:pPr>
                      <a:r>
                        <a:rPr lang="de-DE" sz="11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VP300 R HEPA T EU</a:t>
                      </a:r>
                      <a:endParaRPr lang="en-US" sz="1100"/>
                    </a:p>
                  </a:txBody>
                  <a:tcPr marL="0" marR="0" marT="36000" marB="36000" anchor="ctr">
                    <a:lnL w="0">
                      <a:noFill/>
                    </a:lnL>
                    <a:lnR w="0">
                      <a:noFill/>
                    </a:lnR>
                    <a:lnT w="12700">
                      <a:solidFill>
                        <a:schemeClr val="bg2"/>
                      </a:solidFill>
                    </a:lnT>
                    <a:lnB w="12700">
                      <a:solidFill>
                        <a:schemeClr val="bg2"/>
                      </a:solidFill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66745948"/>
                  </a:ext>
                </a:extLst>
              </a:tr>
              <a:tr h="236282">
                <a:tc vMerge="1">
                  <a:txBody>
                    <a:bodyPr/>
                    <a:lstStyle/>
                    <a:p>
                      <a:pPr algn="ctr" fontAlgn="b"/>
                      <a:endParaRPr lang="da-DK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da-DK" sz="11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VP300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DK" sz="11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07421159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da-DK" sz="11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VP300 R HEPA EC UK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22148314"/>
                  </a:ext>
                </a:extLst>
              </a:tr>
            </a:tbl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AA4BDFD2-7180-C45D-C005-39E2D84DEC91}"/>
              </a:ext>
            </a:extLst>
          </p:cNvPr>
          <p:cNvSpPr txBox="1"/>
          <p:nvPr/>
        </p:nvSpPr>
        <p:spPr>
          <a:xfrm>
            <a:off x="475520" y="6233507"/>
            <a:ext cx="3276600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DK" sz="800"/>
              <a:t>*C</a:t>
            </a:r>
            <a:r>
              <a:rPr lang="en-GB" sz="800">
                <a:effectLst/>
              </a:rPr>
              <a:t>o-branded/private label models not included in sales presentation</a:t>
            </a:r>
            <a:endParaRPr lang="en-DK" sz="800"/>
          </a:p>
        </p:txBody>
      </p:sp>
    </p:spTree>
    <p:extLst>
      <p:ext uri="{BB962C8B-B14F-4D97-AF65-F5344CB8AC3E}">
        <p14:creationId xmlns:p14="http://schemas.microsoft.com/office/powerpoint/2010/main" val="13849061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0BD2A058-3B3F-B3DC-B621-8EF62D24E53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BD2A058-3B3F-B3DC-B621-8EF62D24E53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1F6F35A-7257-A764-570F-24AE4544FFDA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 wrap="square" anchor="ctr">
            <a:normAutofit/>
          </a:bodyPr>
          <a:lstStyle/>
          <a:p>
            <a:pPr algn="l">
              <a:spcAft>
                <a:spcPts val="600"/>
              </a:spcAft>
            </a:pPr>
            <a:r>
              <a:rPr lang="en-US"/>
              <a:t>COMPANY 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5976AF4-76DB-9CF0-A0D1-7EFA6FC84B0A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 wrap="square" anchor="ctr">
            <a:normAutofit/>
          </a:bodyPr>
          <a:lstStyle/>
          <a:p>
            <a:pPr>
              <a:spcAft>
                <a:spcPts val="600"/>
              </a:spcAft>
            </a:pPr>
            <a:fld id="{6C385236-B7BA-4938-9EA6-6DEC8CA653D7}" type="slidenum">
              <a:rPr lang="en-US" smtClean="0"/>
              <a:pPr>
                <a:spcAft>
                  <a:spcPts val="600"/>
                </a:spcAft>
              </a:pPr>
              <a:t>22</a:t>
            </a:fld>
            <a:endParaRPr lang="en-U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D9293DB7-18D8-7025-D233-9183D666004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>
            <a:normAutofit/>
          </a:bodyPr>
          <a:lstStyle/>
          <a:p>
            <a:r>
              <a:rPr lang="en-US"/>
              <a:t>New Global PNs*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9B9DB6AC-CAB3-0E0C-5ECF-D4B9A8ABE8F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t">
            <a:noAutofit/>
          </a:bodyPr>
          <a:lstStyle/>
          <a:p>
            <a:r>
              <a:rPr lang="en-US"/>
              <a:t>VP400 Hierarchy</a:t>
            </a:r>
          </a:p>
        </p:txBody>
      </p:sp>
      <p:graphicFrame>
        <p:nvGraphicFramePr>
          <p:cNvPr id="10" name="Table 9">
            <a:extLst>
              <a:ext uri="{FF2B5EF4-FFF2-40B4-BE49-F238E27FC236}">
                <a16:creationId xmlns:a16="http://schemas.microsoft.com/office/drawing/2014/main" id="{26EE3458-A28C-B948-960B-FCE1FB46C26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19435052"/>
              </p:ext>
            </p:extLst>
          </p:nvPr>
        </p:nvGraphicFramePr>
        <p:xfrm>
          <a:off x="479424" y="1412875"/>
          <a:ext cx="11232000" cy="2734320"/>
        </p:xfrm>
        <a:graphic>
          <a:graphicData uri="http://schemas.openxmlformats.org/drawingml/2006/table">
            <a:tbl>
              <a:tblPr firstRow="1"/>
              <a:tblGrid>
                <a:gridCol w="2160000">
                  <a:extLst>
                    <a:ext uri="{9D8B030D-6E8A-4147-A177-3AD203B41FA5}">
                      <a16:colId xmlns:a16="http://schemas.microsoft.com/office/drawing/2014/main" val="1037348348"/>
                    </a:ext>
                  </a:extLst>
                </a:gridCol>
                <a:gridCol w="2160000">
                  <a:extLst>
                    <a:ext uri="{9D8B030D-6E8A-4147-A177-3AD203B41FA5}">
                      <a16:colId xmlns:a16="http://schemas.microsoft.com/office/drawing/2014/main" val="1201817649"/>
                    </a:ext>
                  </a:extLst>
                </a:gridCol>
                <a:gridCol w="2160000">
                  <a:extLst>
                    <a:ext uri="{9D8B030D-6E8A-4147-A177-3AD203B41FA5}">
                      <a16:colId xmlns:a16="http://schemas.microsoft.com/office/drawing/2014/main" val="1468763889"/>
                    </a:ext>
                  </a:extLst>
                </a:gridCol>
                <a:gridCol w="4752000">
                  <a:extLst>
                    <a:ext uri="{9D8B030D-6E8A-4147-A177-3AD203B41FA5}">
                      <a16:colId xmlns:a16="http://schemas.microsoft.com/office/drawing/2014/main" val="1868493934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l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000" b="0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Platform – L4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000" b="0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Variant – L5 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000" b="0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PN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000" b="0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achine Level – L6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12414391"/>
                  </a:ext>
                </a:extLst>
              </a:tr>
              <a:tr h="0">
                <a:tc rowSpan="12">
                  <a:txBody>
                    <a:bodyPr/>
                    <a:lstStyle/>
                    <a:p>
                      <a:pPr algn="l" fontAlgn="b"/>
                      <a:r>
                        <a:rPr lang="da-DK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97454 – VP400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12">
                  <a:txBody>
                    <a:bodyPr/>
                    <a:lstStyle/>
                    <a:p>
                      <a:pPr algn="l" rtl="0" fontAlgn="ctr"/>
                      <a:r>
                        <a:rPr lang="da-DK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VP400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DK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07421169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da-DK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VP400 HEPA XEC EU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24075351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pPr algn="l" fontAlgn="b"/>
                      <a:endParaRPr lang="da-DK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DK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07421171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da-DK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VP400 HEPA XT EU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79856111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pPr algn="l" fontAlgn="b"/>
                      <a:endParaRPr lang="da-DK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DK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07421172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da-DK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VP400 HEPA EC EU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20139957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pPr algn="l" fontAlgn="b"/>
                      <a:endParaRPr lang="da-DK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DK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07421177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VP400 R HEPA XT EU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37979708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pPr algn="l" fontAlgn="b"/>
                      <a:endParaRPr lang="da-DK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DK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07421173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da-DK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VP400 HEPA XTCP CH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6395685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pPr algn="l" fontAlgn="b"/>
                      <a:endParaRPr lang="da-DK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DK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07421170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da-DK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VP400 HEPA XECP UK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31024149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pPr algn="l" fontAlgn="b"/>
                      <a:endParaRPr lang="da-DK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DK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07421174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da-DK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VP400 HEPA CP US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09748229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pPr algn="l" fontAlgn="b"/>
                      <a:endParaRPr lang="da-DK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DK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07421175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fr-FR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VP400 HEPA XTCP AU/NZ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38704215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pPr algn="l" fontAlgn="b"/>
                      <a:endParaRPr lang="da-DK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DK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07421176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da-DK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VP400 HEPA X CN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46722413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pPr algn="l" fontAlgn="b"/>
                      <a:endParaRPr lang="da-DK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DK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07421169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da-DK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VP400 HEPA XEC EU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52550957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pPr algn="l" fontAlgn="b"/>
                      <a:endParaRPr lang="da-DK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DK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07421171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da-DK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VP400 HEPA XT EU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99784396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DK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07421172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da-DK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VP400 HEPA EC EU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20103248"/>
                  </a:ext>
                </a:extLst>
              </a:tr>
            </a:tbl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149C4341-1E77-3B02-B9E9-337DA911EA0F}"/>
              </a:ext>
            </a:extLst>
          </p:cNvPr>
          <p:cNvSpPr txBox="1"/>
          <p:nvPr/>
        </p:nvSpPr>
        <p:spPr>
          <a:xfrm>
            <a:off x="475520" y="6301954"/>
            <a:ext cx="3276600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DK" sz="800"/>
              <a:t>*C</a:t>
            </a:r>
            <a:r>
              <a:rPr lang="en-GB" sz="800">
                <a:effectLst/>
              </a:rPr>
              <a:t>o-branded/private label models not included in sales presentation</a:t>
            </a:r>
            <a:endParaRPr lang="en-DK" sz="800"/>
          </a:p>
        </p:txBody>
      </p:sp>
    </p:spTree>
    <p:extLst>
      <p:ext uri="{BB962C8B-B14F-4D97-AF65-F5344CB8AC3E}">
        <p14:creationId xmlns:p14="http://schemas.microsoft.com/office/powerpoint/2010/main" val="41186191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0B6911FA-3949-F8F4-2DE6-ECC3C347161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pPr marL="0" indent="0">
              <a:buNone/>
            </a:pPr>
            <a:r>
              <a:rPr lang="en-GB" sz="1300" dirty="0"/>
              <a:t>Introducing the new </a:t>
            </a:r>
            <a:r>
              <a:rPr lang="en-GB" sz="1300" dirty="0">
                <a:latin typeface="Roboto Medium"/>
                <a:ea typeface="Roboto Medium"/>
                <a:cs typeface="Roboto Medium"/>
              </a:rPr>
              <a:t>Nilfisk VP300 and VP400 </a:t>
            </a:r>
            <a:r>
              <a:rPr lang="en-GB" sz="1300"/>
              <a:t>— Commercial dry  </a:t>
            </a:r>
            <a:r>
              <a:rPr lang="en-GB" sz="1300" dirty="0"/>
              <a:t>vacuums targeted</a:t>
            </a:r>
            <a:r>
              <a:rPr lang="en-DK" sz="1300" dirty="0"/>
              <a:t> for the entry-level area and </a:t>
            </a:r>
            <a:r>
              <a:rPr lang="en-GB" sz="1300" dirty="0"/>
              <a:t>designed for delivering best-in-class performance across key parameters.</a:t>
            </a:r>
            <a:endParaRPr lang="en-DK" sz="1300" dirty="0"/>
          </a:p>
          <a:p>
            <a:pPr marL="0" indent="0">
              <a:buNone/>
            </a:pPr>
            <a:endParaRPr lang="en-GB" sz="1300"/>
          </a:p>
          <a:p>
            <a:pPr marL="198755" indent="-198755">
              <a:buFont typeface="Arial" panose="020B0604020202020204" pitchFamily="34" charset="0"/>
              <a:buChar char="•"/>
            </a:pPr>
            <a:r>
              <a:rPr lang="en-GB" sz="1300" dirty="0">
                <a:latin typeface="Roboto Medium"/>
                <a:ea typeface="Roboto Medium"/>
                <a:cs typeface="Roboto Medium"/>
              </a:rPr>
              <a:t>VP300</a:t>
            </a:r>
            <a:r>
              <a:rPr lang="en-GB" sz="1300" dirty="0"/>
              <a:t>: An enhanced version of the trusted VP300 model.</a:t>
            </a:r>
            <a:endParaRPr lang="en-GB" sz="1300" dirty="0">
              <a:ea typeface="Roboto Light"/>
              <a:cs typeface="Roboto Light"/>
            </a:endParaRPr>
          </a:p>
          <a:p>
            <a:pPr marL="198755" indent="-198755">
              <a:buFont typeface="Arial" panose="020B0604020202020204" pitchFamily="34" charset="0"/>
              <a:buChar char="•"/>
            </a:pPr>
            <a:r>
              <a:rPr lang="en-GB" sz="1300" dirty="0">
                <a:latin typeface="Roboto Medium"/>
                <a:ea typeface="Roboto Medium"/>
                <a:cs typeface="Roboto Medium"/>
              </a:rPr>
              <a:t>VP400</a:t>
            </a:r>
            <a:r>
              <a:rPr lang="en-GB" sz="1300" dirty="0"/>
              <a:t>: A durable new addition featuring a convenient cord rewind system, expanding the product range.</a:t>
            </a:r>
            <a:endParaRPr lang="en-DK" sz="1300" dirty="0">
              <a:ea typeface="Roboto Light"/>
              <a:cs typeface="Roboto Light"/>
            </a:endParaRPr>
          </a:p>
          <a:p>
            <a:pPr marL="0" indent="0">
              <a:buNone/>
            </a:pPr>
            <a:endParaRPr lang="en-GB" sz="1300"/>
          </a:p>
          <a:p>
            <a:pPr marL="0" indent="0">
              <a:buNone/>
            </a:pPr>
            <a:r>
              <a:rPr lang="en-GB" sz="1300" dirty="0"/>
              <a:t>Both models are thoughtfully engineered with the operator in mind:</a:t>
            </a:r>
            <a:endParaRPr lang="en-GB" sz="1300" dirty="0">
              <a:ea typeface="Roboto Light"/>
              <a:cs typeface="Roboto Light"/>
            </a:endParaRPr>
          </a:p>
          <a:p>
            <a:pPr marL="198755" indent="-198755"/>
            <a:r>
              <a:rPr lang="en-GB" sz="1300" dirty="0"/>
              <a:t>Compact &amp; lightweight for effortless handling.</a:t>
            </a:r>
            <a:endParaRPr lang="en-DK" sz="1300" dirty="0">
              <a:ea typeface="Roboto Light"/>
              <a:cs typeface="Roboto Light"/>
            </a:endParaRPr>
          </a:p>
          <a:p>
            <a:pPr marL="198755" indent="-198755"/>
            <a:r>
              <a:rPr lang="en-GB" sz="1300" dirty="0"/>
              <a:t>High versatility to adapt to specific customer needs.</a:t>
            </a:r>
            <a:endParaRPr lang="en-DK" sz="1300" dirty="0">
              <a:ea typeface="Roboto Light"/>
              <a:cs typeface="Roboto Light"/>
            </a:endParaRPr>
          </a:p>
          <a:p>
            <a:pPr marL="198755" indent="-198755"/>
            <a:r>
              <a:rPr lang="en-GB" sz="1300" dirty="0"/>
              <a:t>Reliability for multiple hours of daily use, delivering consistent high performance.</a:t>
            </a:r>
            <a:endParaRPr lang="en-DK" sz="1300" dirty="0">
              <a:ea typeface="Roboto Light"/>
              <a:cs typeface="Roboto Light"/>
            </a:endParaRPr>
          </a:p>
          <a:p>
            <a:pPr marL="198755" indent="-198755"/>
            <a:r>
              <a:rPr lang="en-GB" sz="1300" dirty="0"/>
              <a:t>A user-friendly interface, ensuring intuitive operation even for first-time users.</a:t>
            </a:r>
            <a:endParaRPr lang="en-DK" sz="1300" dirty="0">
              <a:ea typeface="Roboto Light"/>
              <a:cs typeface="Roboto Light"/>
            </a:endParaRPr>
          </a:p>
          <a:p>
            <a:pPr marL="198755" indent="-198755"/>
            <a:endParaRPr lang="en-GB" sz="1300">
              <a:ea typeface="Roboto Light"/>
              <a:cs typeface="Roboto Light"/>
            </a:endParaRPr>
          </a:p>
          <a:p>
            <a:pPr marL="0" indent="0">
              <a:buNone/>
            </a:pPr>
            <a:r>
              <a:rPr lang="en-GB" sz="1300" dirty="0"/>
              <a:t>The VP300 and VP400 combine power and convenience in a small footprint, making them ideal for professionals seeking efficient and reliable cleaning solutions.</a:t>
            </a:r>
            <a:endParaRPr lang="en-US" sz="1300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6536C89-5A53-2D14-7475-D7CB90A7C6C3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B5AF1CB-5C73-5100-2D67-611263710457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3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8375F00-C887-B0F1-203E-62B37554753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/>
              <a:t>A new formula for simplicity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54BC2C5C-26DE-A0DB-8CDA-663A459BC8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mpact Dry Vacuum</a:t>
            </a:r>
          </a:p>
        </p:txBody>
      </p:sp>
      <p:pic>
        <p:nvPicPr>
          <p:cNvPr id="9" name="Picture Placeholder 7" descr="A person vacuuming a room&#10;&#10;Description automatically generated">
            <a:extLst>
              <a:ext uri="{FF2B5EF4-FFF2-40B4-BE49-F238E27FC236}">
                <a16:creationId xmlns:a16="http://schemas.microsoft.com/office/drawing/2014/main" id="{4E4AB057-C478-F6C0-A9F2-C378523094A1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" b="5"/>
          <a:stretch>
            <a:fillRect/>
          </a:stretch>
        </p:blipFill>
        <p:spPr>
          <a:xfrm>
            <a:off x="6205538" y="0"/>
            <a:ext cx="5986462" cy="62849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74366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EA187709-31D8-35A4-5888-D0526FFFE19F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pPr>
              <a:tabLst>
                <a:tab pos="989013" algn="l"/>
                <a:tab pos="6096000" algn="l"/>
              </a:tabLst>
            </a:pPr>
            <a:r>
              <a:rPr lang="en-US"/>
              <a:t>2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76BD1002-61D2-567F-3288-602C666DCA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/>
              <a:t>Primary application and use</a:t>
            </a:r>
          </a:p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43CCD52-8DA8-1371-F88F-B797EFA4987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61AAC7D-11A7-AFB3-DA60-26F2209C971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29346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A367258-2D22-BD88-0C0C-A09375124877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17F9A4F-2F2C-3B77-3B82-1BE269B42CAC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5</a:t>
            </a:fld>
            <a:endParaRPr lang="en-US"/>
          </a:p>
        </p:txBody>
      </p:sp>
      <p:sp>
        <p:nvSpPr>
          <p:cNvPr id="26" name="Content Placeholder 1">
            <a:extLst>
              <a:ext uri="{FF2B5EF4-FFF2-40B4-BE49-F238E27FC236}">
                <a16:creationId xmlns:a16="http://schemas.microsoft.com/office/drawing/2014/main" id="{65531487-FB54-E59F-89DD-CEDDF3C76B1E}"/>
              </a:ext>
            </a:extLst>
          </p:cNvPr>
          <p:cNvSpPr txBox="1">
            <a:spLocks/>
          </p:cNvSpPr>
          <p:nvPr/>
        </p:nvSpPr>
        <p:spPr>
          <a:xfrm>
            <a:off x="488051" y="1620773"/>
            <a:ext cx="2696110" cy="2251641"/>
          </a:xfrm>
          <a:prstGeom prst="rect">
            <a:avLst/>
          </a:prstGeo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wrap="square" lIns="252000" tIns="1554480" rIns="216000" bIns="182880" rtlCol="0">
            <a:no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20000"/>
              </a:lnSpc>
              <a:buFont typeface="Arial" panose="020B0604020202020204" pitchFamily="34" charset="0"/>
              <a:buNone/>
            </a:pPr>
            <a:r>
              <a:rPr lang="en-US"/>
              <a:t>Contract Cleaners</a:t>
            </a:r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04A75E69-3F2C-A092-50EF-178FCA9525B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5521" y="873877"/>
            <a:ext cx="11235102" cy="376456"/>
          </a:xfrm>
        </p:spPr>
        <p:txBody>
          <a:bodyPr/>
          <a:lstStyle/>
          <a:p>
            <a:r>
              <a:rPr lang="da-DK"/>
              <a:t>Primary customers | CC&amp;I</a:t>
            </a:r>
          </a:p>
        </p:txBody>
      </p:sp>
      <p:sp>
        <p:nvSpPr>
          <p:cNvPr id="28" name="Title 12">
            <a:extLst>
              <a:ext uri="{FF2B5EF4-FFF2-40B4-BE49-F238E27FC236}">
                <a16:creationId xmlns:a16="http://schemas.microsoft.com/office/drawing/2014/main" id="{0EA9AF8E-35DE-47CE-E504-52AC68CAC3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494490"/>
            <a:ext cx="11233150" cy="388013"/>
          </a:xfrm>
        </p:spPr>
        <p:txBody>
          <a:bodyPr vert="horz"/>
          <a:lstStyle/>
          <a:p>
            <a:r>
              <a:rPr lang="en-US"/>
              <a:t>Target segments </a:t>
            </a:r>
          </a:p>
        </p:txBody>
      </p:sp>
      <p:sp>
        <p:nvSpPr>
          <p:cNvPr id="29" name="Content Placeholder 1">
            <a:extLst>
              <a:ext uri="{FF2B5EF4-FFF2-40B4-BE49-F238E27FC236}">
                <a16:creationId xmlns:a16="http://schemas.microsoft.com/office/drawing/2014/main" id="{8B77A281-0965-AB65-06F4-FB1E483F6B70}"/>
              </a:ext>
            </a:extLst>
          </p:cNvPr>
          <p:cNvSpPr txBox="1">
            <a:spLocks/>
          </p:cNvSpPr>
          <p:nvPr/>
        </p:nvSpPr>
        <p:spPr>
          <a:xfrm>
            <a:off x="3331455" y="1629719"/>
            <a:ext cx="2696110" cy="2251641"/>
          </a:xfrm>
          <a:prstGeom prst="rect">
            <a:avLst/>
          </a:prstGeo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wrap="square" lIns="252000" tIns="1554480" rIns="216000" bIns="182880" rtlCol="0">
            <a:no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20000"/>
              </a:lnSpc>
              <a:buFont typeface="Arial" panose="020B0604020202020204" pitchFamily="34" charset="0"/>
              <a:buNone/>
            </a:pPr>
            <a:r>
              <a:rPr lang="en-US"/>
              <a:t>Institutions</a:t>
            </a:r>
          </a:p>
        </p:txBody>
      </p:sp>
      <p:sp>
        <p:nvSpPr>
          <p:cNvPr id="30" name="Content Placeholder 1">
            <a:extLst>
              <a:ext uri="{FF2B5EF4-FFF2-40B4-BE49-F238E27FC236}">
                <a16:creationId xmlns:a16="http://schemas.microsoft.com/office/drawing/2014/main" id="{85CE48DB-D73F-3F08-CBDA-8272E2CF4068}"/>
              </a:ext>
            </a:extLst>
          </p:cNvPr>
          <p:cNvSpPr txBox="1">
            <a:spLocks/>
          </p:cNvSpPr>
          <p:nvPr/>
        </p:nvSpPr>
        <p:spPr>
          <a:xfrm>
            <a:off x="6177135" y="1629719"/>
            <a:ext cx="2696110" cy="2251641"/>
          </a:xfrm>
          <a:prstGeom prst="rect">
            <a:avLst/>
          </a:prstGeo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wrap="square" lIns="252000" tIns="1554480" rIns="216000" bIns="182880" rtlCol="0">
            <a:no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20000"/>
              </a:lnSpc>
              <a:buFont typeface="Arial" panose="020B0604020202020204" pitchFamily="34" charset="0"/>
              <a:buNone/>
            </a:pPr>
            <a:r>
              <a:rPr lang="en-US"/>
              <a:t>Hospitality</a:t>
            </a:r>
          </a:p>
        </p:txBody>
      </p:sp>
      <p:sp>
        <p:nvSpPr>
          <p:cNvPr id="31" name="Content Placeholder 1">
            <a:extLst>
              <a:ext uri="{FF2B5EF4-FFF2-40B4-BE49-F238E27FC236}">
                <a16:creationId xmlns:a16="http://schemas.microsoft.com/office/drawing/2014/main" id="{AFB1FAE5-E06B-C8C7-091A-8BA1FDC800CF}"/>
              </a:ext>
            </a:extLst>
          </p:cNvPr>
          <p:cNvSpPr txBox="1">
            <a:spLocks/>
          </p:cNvSpPr>
          <p:nvPr/>
        </p:nvSpPr>
        <p:spPr>
          <a:xfrm>
            <a:off x="9022814" y="1629720"/>
            <a:ext cx="2696110" cy="2251642"/>
          </a:xfrm>
          <a:prstGeom prst="rect">
            <a:avLst/>
          </a:prstGeo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wrap="square" lIns="252000" tIns="1554480" rIns="216000" bIns="182880" rtlCol="0">
            <a:sp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20000"/>
              </a:lnSpc>
              <a:buFont typeface="Arial" panose="020B0604020202020204" pitchFamily="34" charset="0"/>
              <a:buNone/>
            </a:pPr>
            <a:r>
              <a:rPr lang="en-US"/>
              <a:t>Public administration </a:t>
            </a:r>
            <a:br>
              <a:rPr lang="en-US"/>
            </a:br>
            <a:r>
              <a:rPr lang="en-US"/>
              <a:t>and offices</a:t>
            </a:r>
          </a:p>
        </p:txBody>
      </p:sp>
      <p:pic>
        <p:nvPicPr>
          <p:cNvPr id="32" name="Picture 31">
            <a:extLst>
              <a:ext uri="{FF2B5EF4-FFF2-40B4-BE49-F238E27FC236}">
                <a16:creationId xmlns:a16="http://schemas.microsoft.com/office/drawing/2014/main" id="{A8C78734-C080-31D3-5CDF-31799C23899D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85775" y="1629720"/>
            <a:ext cx="2696111" cy="1401123"/>
          </a:xfrm>
          <a:prstGeom prst="rect">
            <a:avLst/>
          </a:prstGeom>
        </p:spPr>
      </p:pic>
      <p:pic>
        <p:nvPicPr>
          <p:cNvPr id="33" name="Picture 32">
            <a:extLst>
              <a:ext uri="{FF2B5EF4-FFF2-40B4-BE49-F238E27FC236}">
                <a16:creationId xmlns:a16="http://schemas.microsoft.com/office/drawing/2014/main" id="{891A453B-37E5-A5A7-6C41-6EB816244FD0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31455" y="1629720"/>
            <a:ext cx="2696111" cy="1401123"/>
          </a:xfrm>
          <a:prstGeom prst="rect">
            <a:avLst/>
          </a:prstGeom>
        </p:spPr>
      </p:pic>
      <p:pic>
        <p:nvPicPr>
          <p:cNvPr id="34" name="Picture 33">
            <a:extLst>
              <a:ext uri="{FF2B5EF4-FFF2-40B4-BE49-F238E27FC236}">
                <a16:creationId xmlns:a16="http://schemas.microsoft.com/office/drawing/2014/main" id="{25D304B9-1BA0-FF78-7EDC-6CFB55CFE59A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2814" y="1629719"/>
            <a:ext cx="2696111" cy="1401123"/>
          </a:xfrm>
          <a:prstGeom prst="rect">
            <a:avLst/>
          </a:prstGeom>
        </p:spPr>
      </p:pic>
      <p:sp>
        <p:nvSpPr>
          <p:cNvPr id="35" name="Content Placeholder 1">
            <a:extLst>
              <a:ext uri="{FF2B5EF4-FFF2-40B4-BE49-F238E27FC236}">
                <a16:creationId xmlns:a16="http://schemas.microsoft.com/office/drawing/2014/main" id="{4F0CEB8A-FBCD-263B-C3C1-CA46D526FC46}"/>
              </a:ext>
            </a:extLst>
          </p:cNvPr>
          <p:cNvSpPr txBox="1">
            <a:spLocks/>
          </p:cNvSpPr>
          <p:nvPr/>
        </p:nvSpPr>
        <p:spPr>
          <a:xfrm>
            <a:off x="1903295" y="4016990"/>
            <a:ext cx="2696110" cy="2251641"/>
          </a:xfrm>
          <a:prstGeom prst="rect">
            <a:avLst/>
          </a:prstGeo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wrap="square" lIns="252000" tIns="1554480" rIns="216000" bIns="182880" rtlCol="0">
            <a:no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20000"/>
              </a:lnSpc>
              <a:buFont typeface="Arial" panose="020B0604020202020204" pitchFamily="34" charset="0"/>
              <a:buNone/>
            </a:pPr>
            <a:r>
              <a:rPr lang="en-US"/>
              <a:t>Education</a:t>
            </a:r>
          </a:p>
        </p:txBody>
      </p:sp>
      <p:sp>
        <p:nvSpPr>
          <p:cNvPr id="36" name="Content Placeholder 1">
            <a:extLst>
              <a:ext uri="{FF2B5EF4-FFF2-40B4-BE49-F238E27FC236}">
                <a16:creationId xmlns:a16="http://schemas.microsoft.com/office/drawing/2014/main" id="{D1EA3E9C-824B-9503-EAA9-BBDCC33811C2}"/>
              </a:ext>
            </a:extLst>
          </p:cNvPr>
          <p:cNvSpPr txBox="1">
            <a:spLocks/>
          </p:cNvSpPr>
          <p:nvPr/>
        </p:nvSpPr>
        <p:spPr>
          <a:xfrm>
            <a:off x="4752879" y="4016990"/>
            <a:ext cx="2696110" cy="2251641"/>
          </a:xfrm>
          <a:prstGeom prst="rect">
            <a:avLst/>
          </a:prstGeo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wrap="square" lIns="252000" tIns="1554480" rIns="216000" bIns="182880" rtlCol="0">
            <a:no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20000"/>
              </a:lnSpc>
              <a:buFont typeface="Arial" panose="020B0604020202020204" pitchFamily="34" charset="0"/>
              <a:buNone/>
            </a:pPr>
            <a:r>
              <a:rPr lang="en-US"/>
              <a:t>Health care</a:t>
            </a:r>
          </a:p>
        </p:txBody>
      </p:sp>
      <p:sp>
        <p:nvSpPr>
          <p:cNvPr id="37" name="Content Placeholder 1">
            <a:extLst>
              <a:ext uri="{FF2B5EF4-FFF2-40B4-BE49-F238E27FC236}">
                <a16:creationId xmlns:a16="http://schemas.microsoft.com/office/drawing/2014/main" id="{0272F387-A5C9-0F13-2592-28A8BB34C431}"/>
              </a:ext>
            </a:extLst>
          </p:cNvPr>
          <p:cNvSpPr txBox="1">
            <a:spLocks/>
          </p:cNvSpPr>
          <p:nvPr/>
        </p:nvSpPr>
        <p:spPr>
          <a:xfrm>
            <a:off x="7598559" y="4016990"/>
            <a:ext cx="2696110" cy="2251641"/>
          </a:xfrm>
          <a:prstGeom prst="rect">
            <a:avLst/>
          </a:prstGeo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wrap="square" lIns="252000" tIns="1554480" rIns="216000" bIns="182880" rtlCol="0">
            <a:no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20000"/>
              </a:lnSpc>
              <a:buFont typeface="Arial" panose="020B0604020202020204" pitchFamily="34" charset="0"/>
              <a:buNone/>
            </a:pPr>
            <a:r>
              <a:rPr lang="en-US"/>
              <a:t>Retail</a:t>
            </a:r>
          </a:p>
        </p:txBody>
      </p:sp>
      <p:pic>
        <p:nvPicPr>
          <p:cNvPr id="38" name="Picture 37">
            <a:extLst>
              <a:ext uri="{FF2B5EF4-FFF2-40B4-BE49-F238E27FC236}">
                <a16:creationId xmlns:a16="http://schemas.microsoft.com/office/drawing/2014/main" id="{4A7DB9A5-C964-2893-B959-3C0681C7E39D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7199" y="4016991"/>
            <a:ext cx="2696111" cy="1401123"/>
          </a:xfrm>
          <a:prstGeom prst="rect">
            <a:avLst/>
          </a:prstGeom>
        </p:spPr>
      </p:pic>
      <p:pic>
        <p:nvPicPr>
          <p:cNvPr id="39" name="Picture 38">
            <a:extLst>
              <a:ext uri="{FF2B5EF4-FFF2-40B4-BE49-F238E27FC236}">
                <a16:creationId xmlns:a16="http://schemas.microsoft.com/office/drawing/2014/main" id="{2E5A2409-D2C7-FB94-D7B2-F9141A437531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752879" y="4016991"/>
            <a:ext cx="2696111" cy="1401123"/>
          </a:xfrm>
          <a:prstGeom prst="rect">
            <a:avLst/>
          </a:prstGeom>
        </p:spPr>
      </p:pic>
      <p:pic>
        <p:nvPicPr>
          <p:cNvPr id="40" name="Picture 39">
            <a:extLst>
              <a:ext uri="{FF2B5EF4-FFF2-40B4-BE49-F238E27FC236}">
                <a16:creationId xmlns:a16="http://schemas.microsoft.com/office/drawing/2014/main" id="{9C7793F9-41D5-AFAC-D0B7-3EB2019965C4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598558" y="4016988"/>
            <a:ext cx="2696111" cy="1401123"/>
          </a:xfrm>
          <a:prstGeom prst="rect">
            <a:avLst/>
          </a:prstGeom>
        </p:spPr>
      </p:pic>
      <p:pic>
        <p:nvPicPr>
          <p:cNvPr id="41" name="Picture 40" descr="A person holding a suitcase and looking at his phone&#10;&#10;Description automatically generated">
            <a:extLst>
              <a:ext uri="{FF2B5EF4-FFF2-40B4-BE49-F238E27FC236}">
                <a16:creationId xmlns:a16="http://schemas.microsoft.com/office/drawing/2014/main" id="{7EDBDFA1-4866-757C-C048-E29E17ED3D06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181039" y="1629718"/>
            <a:ext cx="2692206" cy="14068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52466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think-cell data - do not delete" hidden="1">
            <a:extLst>
              <a:ext uri="{FF2B5EF4-FFF2-40B4-BE49-F238E27FC236}">
                <a16:creationId xmlns:a16="http://schemas.microsoft.com/office/drawing/2014/main" id="{59E80AA6-C8BD-FEF5-2A31-122F342890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1" imgH="411" progId="TCLayout.ActiveDocument.1">
                  <p:embed/>
                </p:oleObj>
              </mc:Choice>
              <mc:Fallback>
                <p:oleObj name="think-cell Slide" r:id="rId3" imgW="411" imgH="411" progId="TCLayout.ActiveDocument.1">
                  <p:embed/>
                  <p:pic>
                    <p:nvPicPr>
                      <p:cNvPr id="2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9E80AA6-C8BD-FEF5-2A31-122F342890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60C3BC2-CD46-F5AC-9A2F-615629BD81C7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marL="0" marR="0" lvl="0" indent="0" algn="l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B3BBC5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COMPANY CONFIDENTI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F7B1C8C-E160-42EB-07B2-8B9843319EAF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pPr marL="0" marR="0" lvl="0" indent="0" algn="l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C385236-B7BA-4938-9EA6-6DEC8CA653D7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B3BBC5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pPr marL="0" marR="0" lvl="0" indent="0" algn="l" defTabSz="10239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B3BBC5"/>
              </a:solidFill>
              <a:effectLst/>
              <a:uLnTx/>
              <a:uFillTx/>
              <a:latin typeface="Roboto Light"/>
              <a:ea typeface="+mn-ea"/>
              <a:cs typeface="+mn-cs"/>
            </a:endParaRPr>
          </a:p>
        </p:txBody>
      </p:sp>
      <p:sp>
        <p:nvSpPr>
          <p:cNvPr id="33" name="Content Placeholder 32">
            <a:extLst>
              <a:ext uri="{FF2B5EF4-FFF2-40B4-BE49-F238E27FC236}">
                <a16:creationId xmlns:a16="http://schemas.microsoft.com/office/drawing/2014/main" id="{421540CD-7CEE-79AE-8EA7-46DD90763588}"/>
              </a:ext>
            </a:extLst>
          </p:cNvPr>
          <p:cNvSpPr>
            <a:spLocks noGrp="1"/>
          </p:cNvSpPr>
          <p:nvPr>
            <p:ph sz="quarter" idx="18"/>
          </p:nvPr>
        </p:nvSpPr>
        <p:spPr/>
        <p:txBody>
          <a:bodyPr/>
          <a:lstStyle/>
          <a:p>
            <a:pPr marL="0" indent="0">
              <a:spcBef>
                <a:spcPts val="0"/>
              </a:spcBef>
              <a:spcAft>
                <a:spcPts val="600"/>
              </a:spcAft>
              <a:buNone/>
              <a:defRPr/>
            </a:pPr>
            <a:r>
              <a:rPr kumimoji="0" lang="da-DK" sz="1800" i="0" u="none" strike="noStrike" kern="1200" cap="none" spc="0" normalizeH="0" baseline="0" noProof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+mj-lt"/>
                <a:ea typeface="Roboto Light"/>
                <a:cs typeface="Arial"/>
              </a:rPr>
              <a:t>VP300</a:t>
            </a:r>
            <a:r>
              <a:rPr lang="en-US" sz="1800" kern="100">
                <a:effectLst/>
                <a:latin typeface="+mj-lt"/>
                <a:ea typeface="Roboto Light"/>
                <a:cs typeface="Roboto"/>
              </a:rPr>
              <a:t> – an improved </a:t>
            </a:r>
            <a:r>
              <a:rPr lang="en-US" sz="1800" kern="100">
                <a:latin typeface="+mj-lt"/>
                <a:ea typeface="Roboto Light"/>
                <a:cs typeface="Roboto"/>
              </a:rPr>
              <a:t>success</a:t>
            </a:r>
            <a:endParaRPr kumimoji="0" lang="en-DK" sz="1800" i="0" u="none" strike="noStrike" kern="1200" cap="none" spc="0" normalizeH="0" baseline="0" noProof="0">
              <a:ln>
                <a:noFill/>
              </a:ln>
              <a:solidFill>
                <a:srgbClr val="28313F"/>
              </a:solidFill>
              <a:effectLst/>
              <a:uLnTx/>
              <a:uFillTx/>
              <a:latin typeface="+mj-lt"/>
              <a:ea typeface="Roboto Light"/>
              <a:cs typeface="Arial"/>
            </a:endParaRPr>
          </a:p>
          <a:p>
            <a:pPr marL="252000" marR="0" lvl="0" indent="-252000" defTabSz="102396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da-DK" sz="1400" b="0" i="0" u="none" strike="noStrike" kern="1200" cap="none" spc="0" normalizeH="0" baseline="0" noProof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Roboto Light" panose="02000000000000000000" pitchFamily="2" charset="0"/>
                <a:cs typeface="Arial" panose="020B0604020202020204" pitchFamily="34" charset="0"/>
              </a:rPr>
              <a:t>Compact &amp; Lightweight</a:t>
            </a:r>
            <a:endParaRPr lang="da-DK" sz="1400">
              <a:solidFill>
                <a:srgbClr val="28313F"/>
              </a:solidFill>
              <a:latin typeface="Roboto Light"/>
              <a:ea typeface="Roboto Light" panose="02000000000000000000" pitchFamily="2" charset="0"/>
              <a:cs typeface="Arial" panose="020B0604020202020204" pitchFamily="34" charset="0"/>
            </a:endParaRPr>
          </a:p>
          <a:p>
            <a:pPr marL="252000" marR="0" lvl="0" indent="-252000" defTabSz="102396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lang="da-DK" sz="1400" err="1">
                <a:solidFill>
                  <a:srgbClr val="28313F"/>
                </a:solidFill>
                <a:latin typeface="Roboto Light"/>
                <a:ea typeface="Roboto Light" panose="02000000000000000000" pitchFamily="2" charset="0"/>
                <a:cs typeface="Arial" panose="020B0604020202020204" pitchFamily="34" charset="0"/>
              </a:rPr>
              <a:t>Reliable</a:t>
            </a:r>
            <a:endParaRPr lang="da-DK" sz="1400">
              <a:solidFill>
                <a:srgbClr val="28313F"/>
              </a:solidFill>
              <a:latin typeface="Roboto Light"/>
              <a:ea typeface="Roboto Light"/>
              <a:cs typeface="Arial"/>
            </a:endParaRPr>
          </a:p>
          <a:p>
            <a:pPr marL="252000" indent="-252000">
              <a:spcBef>
                <a:spcPts val="0"/>
              </a:spcBef>
              <a:buFont typeface="Wingdings" panose="05000000000000000000" pitchFamily="2" charset="2"/>
              <a:buChar char="ü"/>
              <a:defRPr/>
            </a:pPr>
            <a:r>
              <a:rPr lang="da-DK" sz="1400">
                <a:solidFill>
                  <a:srgbClr val="28313F"/>
                </a:solidFill>
                <a:latin typeface="Roboto Light"/>
                <a:ea typeface="Roboto Light"/>
                <a:cs typeface="Arial"/>
              </a:rPr>
              <a:t>Simple</a:t>
            </a:r>
            <a:r>
              <a:rPr lang="en-DK" sz="1400">
                <a:solidFill>
                  <a:srgbClr val="28313F"/>
                </a:solidFill>
                <a:latin typeface="Roboto Light"/>
                <a:ea typeface="Roboto Light"/>
                <a:cs typeface="Arial"/>
              </a:rPr>
              <a:t> </a:t>
            </a:r>
            <a:r>
              <a:rPr lang="da-DK" sz="1400">
                <a:solidFill>
                  <a:srgbClr val="28313F"/>
                </a:solidFill>
                <a:latin typeface="Roboto Light"/>
                <a:ea typeface="Roboto Light"/>
                <a:cs typeface="Arial"/>
              </a:rPr>
              <a:t>–</a:t>
            </a:r>
            <a:r>
              <a:rPr lang="en-DK" sz="1400">
                <a:solidFill>
                  <a:srgbClr val="28313F"/>
                </a:solidFill>
                <a:latin typeface="Roboto Light"/>
                <a:ea typeface="Roboto Light"/>
                <a:cs typeface="Arial"/>
              </a:rPr>
              <a:t> </a:t>
            </a:r>
            <a:r>
              <a:rPr lang="da-DK" sz="1400">
                <a:solidFill>
                  <a:srgbClr val="28313F"/>
                </a:solidFill>
                <a:latin typeface="Roboto Light"/>
                <a:ea typeface="Roboto Light"/>
                <a:cs typeface="Arial"/>
              </a:rPr>
              <a:t>Hig</a:t>
            </a:r>
            <a:r>
              <a:rPr lang="en-DK" kern="100">
                <a:solidFill>
                  <a:srgbClr val="28313F"/>
                </a:solidFill>
                <a:latin typeface="Roboto Light"/>
                <a:ea typeface="Roboto Light"/>
                <a:cs typeface="Arial"/>
              </a:rPr>
              <a:t>h </a:t>
            </a:r>
            <a:r>
              <a:rPr lang="da-DK" kern="100" err="1">
                <a:solidFill>
                  <a:srgbClr val="28313F"/>
                </a:solidFill>
                <a:latin typeface="Roboto Light"/>
                <a:ea typeface="Roboto Light"/>
                <a:cs typeface="Arial"/>
              </a:rPr>
              <a:t>productivity</a:t>
            </a:r>
            <a:endParaRPr lang="da-DK" sz="1400">
              <a:solidFill>
                <a:srgbClr val="28313F"/>
              </a:solidFill>
              <a:latin typeface="Roboto Light"/>
              <a:ea typeface="Roboto Light"/>
              <a:cs typeface="Arial"/>
            </a:endParaRPr>
          </a:p>
        </p:txBody>
      </p:sp>
      <p:sp>
        <p:nvSpPr>
          <p:cNvPr id="34" name="Content Placeholder 33">
            <a:extLst>
              <a:ext uri="{FF2B5EF4-FFF2-40B4-BE49-F238E27FC236}">
                <a16:creationId xmlns:a16="http://schemas.microsoft.com/office/drawing/2014/main" id="{79D7C5E0-C62C-F8BA-03F6-69185729C364}"/>
              </a:ext>
            </a:extLst>
          </p:cNvPr>
          <p:cNvSpPr>
            <a:spLocks noGrp="1"/>
          </p:cNvSpPr>
          <p:nvPr>
            <p:ph sz="quarter" idx="23"/>
          </p:nvPr>
        </p:nvSpPr>
        <p:spPr/>
        <p:txBody>
          <a:bodyPr/>
          <a:lstStyle/>
          <a:p>
            <a:pPr marL="0" marR="0" indent="0">
              <a:spcBef>
                <a:spcPts val="0"/>
              </a:spcBef>
              <a:spcAft>
                <a:spcPts val="600"/>
              </a:spcAft>
              <a:buNone/>
              <a:defRPr/>
            </a:pPr>
            <a:r>
              <a:rPr lang="en-US" sz="1800">
                <a:solidFill>
                  <a:srgbClr val="28313F"/>
                </a:solidFill>
                <a:latin typeface="+mj-lt"/>
                <a:ea typeface="Roboto Light"/>
                <a:cs typeface="Arial"/>
              </a:rPr>
              <a:t>VP400 – new (and best) in class</a:t>
            </a:r>
            <a:endParaRPr lang="en-US" sz="1400" kern="100">
              <a:effectLst/>
              <a:latin typeface="Roboto Light"/>
              <a:ea typeface="Roboto Light"/>
              <a:cs typeface="Roboto"/>
            </a:endParaRPr>
          </a:p>
          <a:p>
            <a:pPr marL="252000" marR="0" lvl="0" indent="-252000" defTabSz="102396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da-DK" sz="1400" b="0" i="0" u="none" strike="noStrike" kern="1200" cap="none" spc="0" normalizeH="0" baseline="0" noProof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Roboto Light"/>
                <a:cs typeface="Arial"/>
              </a:rPr>
              <a:t>Efficient</a:t>
            </a:r>
            <a:endParaRPr kumimoji="0" lang="en-DK" sz="1400" b="0" i="0" u="none" strike="noStrike" kern="1200" cap="none" spc="0" normalizeH="0" baseline="0" noProof="0">
              <a:ln>
                <a:noFill/>
              </a:ln>
              <a:solidFill>
                <a:srgbClr val="28313F"/>
              </a:solidFill>
              <a:effectLst/>
              <a:uLnTx/>
              <a:uFillTx/>
              <a:latin typeface="Roboto Light"/>
              <a:ea typeface="Roboto Light"/>
              <a:cs typeface="Arial"/>
            </a:endParaRPr>
          </a:p>
          <a:p>
            <a:pPr marL="252000" marR="0" lvl="0" indent="-252000" defTabSz="102396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lang="en-US" sz="1400">
                <a:solidFill>
                  <a:srgbClr val="28313F"/>
                </a:solidFill>
                <a:latin typeface="Roboto Light"/>
                <a:ea typeface="Roboto Light"/>
                <a:cs typeface="Arial"/>
              </a:rPr>
              <a:t>Durable rewind</a:t>
            </a:r>
          </a:p>
          <a:p>
            <a:pPr marL="252000" marR="0" lvl="0" indent="-252000" defTabSz="102396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lang="da-DK" sz="1400">
                <a:solidFill>
                  <a:srgbClr val="28313F"/>
                </a:solidFill>
                <a:latin typeface="Roboto Light"/>
                <a:ea typeface="Roboto Light"/>
                <a:cs typeface="Arial"/>
              </a:rPr>
              <a:t>No </a:t>
            </a:r>
            <a:r>
              <a:rPr lang="da-DK" sz="1400" err="1">
                <a:solidFill>
                  <a:srgbClr val="28313F"/>
                </a:solidFill>
                <a:latin typeface="Roboto Light"/>
                <a:ea typeface="Roboto Light"/>
                <a:cs typeface="Arial"/>
              </a:rPr>
              <a:t>struggle</a:t>
            </a:r>
            <a:r>
              <a:rPr lang="da-DK" sz="1400">
                <a:solidFill>
                  <a:srgbClr val="28313F"/>
                </a:solidFill>
                <a:latin typeface="Roboto Light"/>
                <a:ea typeface="Roboto Light"/>
                <a:cs typeface="Arial"/>
              </a:rPr>
              <a:t> – </a:t>
            </a:r>
            <a:r>
              <a:rPr lang="en-DK" sz="1400">
                <a:solidFill>
                  <a:srgbClr val="28313F"/>
                </a:solidFill>
                <a:latin typeface="Roboto Light"/>
                <a:ea typeface="Roboto Light"/>
                <a:cs typeface="Arial"/>
              </a:rPr>
              <a:t>Save time and cost</a:t>
            </a:r>
            <a:endParaRPr kumimoji="0" lang="da-DK" sz="1400" b="0" i="0" u="none" strike="noStrike" kern="1200" cap="none" spc="0" normalizeH="0" baseline="0" noProof="0">
              <a:ln>
                <a:noFill/>
              </a:ln>
              <a:solidFill>
                <a:srgbClr val="28313F"/>
              </a:solidFill>
              <a:effectLst/>
              <a:uLnTx/>
              <a:uFillTx/>
              <a:latin typeface="Roboto Light"/>
              <a:ea typeface="Roboto Light"/>
              <a:cs typeface="Arial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2DE3105-E8FC-9506-059D-CB83AEEEF81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468390"/>
            <a:ext cx="11233150" cy="388013"/>
          </a:xfrm>
        </p:spPr>
        <p:txBody>
          <a:bodyPr vert="horz"/>
          <a:lstStyle/>
          <a:p>
            <a:r>
              <a:rPr lang="en-DK"/>
              <a:t>VP300 &amp; VP400 at a glance</a:t>
            </a:r>
          </a:p>
        </p:txBody>
      </p:sp>
      <p:pic>
        <p:nvPicPr>
          <p:cNvPr id="3" name="Picture 2" descr="A vacuum cleaner with a black background&#10;&#10;Description automatically generated">
            <a:extLst>
              <a:ext uri="{FF2B5EF4-FFF2-40B4-BE49-F238E27FC236}">
                <a16:creationId xmlns:a16="http://schemas.microsoft.com/office/drawing/2014/main" id="{0423DB1E-3240-378C-800B-19E0B1110731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14700" y="2143672"/>
            <a:ext cx="2781300" cy="4047293"/>
          </a:xfrm>
          <a:prstGeom prst="rect">
            <a:avLst/>
          </a:prstGeom>
        </p:spPr>
      </p:pic>
      <p:pic>
        <p:nvPicPr>
          <p:cNvPr id="4" name="Picture 3" descr="A vacuum cleaner with a black handle&#10;&#10;Description automatically generated">
            <a:extLst>
              <a:ext uri="{FF2B5EF4-FFF2-40B4-BE49-F238E27FC236}">
                <a16:creationId xmlns:a16="http://schemas.microsoft.com/office/drawing/2014/main" id="{6A7261BC-3B55-38AF-6E69-D63802A2D18A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06820" y="2090041"/>
            <a:ext cx="2765195" cy="4159439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4ECD7394-AC30-F56F-CFF6-68B0D367088A}"/>
              </a:ext>
            </a:extLst>
          </p:cNvPr>
          <p:cNvSpPr txBox="1"/>
          <p:nvPr/>
        </p:nvSpPr>
        <p:spPr>
          <a:xfrm>
            <a:off x="749596" y="3103395"/>
            <a:ext cx="2902447" cy="230704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lnSpc>
                <a:spcPct val="120000"/>
              </a:lnSpc>
              <a:spcBef>
                <a:spcPts val="0"/>
              </a:spcBef>
              <a:buNone/>
              <a:defRPr/>
            </a:pPr>
            <a:r>
              <a:rPr lang="en-US" sz="1400" kern="100">
                <a:effectLst/>
                <a:latin typeface="Roboto Light"/>
                <a:ea typeface="Roboto Light"/>
                <a:cs typeface="Roboto"/>
              </a:rPr>
              <a:t>VP300 excels with its new, </a:t>
            </a:r>
            <a:br>
              <a:rPr lang="en-US" sz="1400" kern="100">
                <a:effectLst/>
                <a:latin typeface="Roboto Light"/>
                <a:ea typeface="Roboto Light"/>
                <a:cs typeface="Roboto"/>
              </a:rPr>
            </a:br>
            <a:r>
              <a:rPr lang="en-US" sz="1400" kern="100">
                <a:effectLst/>
                <a:latin typeface="Roboto Light"/>
                <a:ea typeface="Roboto Light"/>
                <a:cs typeface="Roboto"/>
              </a:rPr>
              <a:t>vibrant, next-generation design. </a:t>
            </a:r>
            <a:r>
              <a:rPr lang="en-DK" sz="1400" kern="100">
                <a:effectLst/>
                <a:latin typeface="Roboto Light"/>
                <a:ea typeface="Roboto Light"/>
                <a:cs typeface="Roboto"/>
              </a:rPr>
              <a:t>The lightweight design</a:t>
            </a:r>
            <a:r>
              <a:rPr lang="en-US" sz="1400" kern="100">
                <a:effectLst/>
                <a:latin typeface="Roboto Light"/>
                <a:ea typeface="Roboto Light"/>
                <a:cs typeface="Roboto"/>
              </a:rPr>
              <a:t> features improved ergonomics on the handle, lock, and bent end, reducing strain. It also has best-in-class filling capacity and seamless cord management. Furthermore, its quiet operation expands cleaning hours. </a:t>
            </a:r>
            <a:endParaRPr lang="en-DK" sz="140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050F285-F0C2-7D25-1A53-0257E136EFCE}"/>
              </a:ext>
            </a:extLst>
          </p:cNvPr>
          <p:cNvSpPr txBox="1"/>
          <p:nvPr/>
        </p:nvSpPr>
        <p:spPr>
          <a:xfrm>
            <a:off x="6511815" y="3103395"/>
            <a:ext cx="2963537" cy="256557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120000"/>
              </a:lnSpc>
            </a:pPr>
            <a:r>
              <a:rPr lang="en-GB" sz="1400" kern="100" dirty="0">
                <a:effectLst/>
                <a:latin typeface="Roboto Light"/>
                <a:ea typeface="Roboto Light"/>
                <a:cs typeface="Roboto"/>
              </a:rPr>
              <a:t>The VP400 excels with outstanding performance and convenience, </a:t>
            </a:r>
            <a:r>
              <a:rPr lang="en-GB" sz="1400" kern="100">
                <a:effectLst/>
                <a:latin typeface="Roboto Light"/>
                <a:ea typeface="Roboto Light"/>
                <a:cs typeface="Roboto"/>
              </a:rPr>
              <a:t>packed into a compact </a:t>
            </a:r>
            <a:r>
              <a:rPr lang="en-GB" sz="1400" kern="100">
                <a:latin typeface="Roboto Light"/>
                <a:ea typeface="Roboto Light"/>
                <a:cs typeface="Roboto"/>
              </a:rPr>
              <a:t>dry vacuum</a:t>
            </a:r>
            <a:r>
              <a:rPr lang="en-GB" sz="1400" kern="100">
                <a:effectLst/>
                <a:latin typeface="Roboto Light"/>
                <a:ea typeface="Roboto Light"/>
                <a:cs typeface="Roboto"/>
              </a:rPr>
              <a:t> for </a:t>
            </a:r>
            <a:r>
              <a:rPr lang="en-GB" sz="1400" kern="100" dirty="0">
                <a:effectLst/>
                <a:latin typeface="Roboto Light"/>
                <a:ea typeface="Roboto Light"/>
                <a:cs typeface="Roboto"/>
              </a:rPr>
              <a:t>time-saving productivity. A top feature is its smooth cord rewind, eliminating the risk of time-consuming cord mess. Combined with the foot-reachable power switch, it ensures seamless transitions to other areas.</a:t>
            </a:r>
            <a:endParaRPr lang="en-DK" sz="1400" dirty="0"/>
          </a:p>
        </p:txBody>
      </p:sp>
    </p:spTree>
    <p:extLst>
      <p:ext uri="{BB962C8B-B14F-4D97-AF65-F5344CB8AC3E}">
        <p14:creationId xmlns:p14="http://schemas.microsoft.com/office/powerpoint/2010/main" val="37878198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2E2085C-66C4-4B4A-E202-3712CCC1E7D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pPr>
              <a:spcAft>
                <a:spcPts val="1200"/>
              </a:spcAft>
            </a:pPr>
            <a:r>
              <a:rPr lang="en-DK" sz="1300">
                <a:latin typeface="Roboto Medium" panose="02000000000000000000" pitchFamily="2" charset="0"/>
                <a:ea typeface="Roboto Medium" panose="02000000000000000000" pitchFamily="2" charset="0"/>
              </a:rPr>
              <a:t>Daily cleaning</a:t>
            </a:r>
            <a:r>
              <a:rPr lang="en-GB" sz="1300">
                <a:latin typeface="Roboto Medium" panose="02000000000000000000" pitchFamily="2" charset="0"/>
                <a:ea typeface="Roboto Medium" panose="02000000000000000000" pitchFamily="2" charset="0"/>
              </a:rPr>
              <a:t>:</a:t>
            </a:r>
            <a:r>
              <a:rPr lang="en-GB" sz="1300" b="1"/>
              <a:t> </a:t>
            </a:r>
            <a:r>
              <a:rPr lang="en-GB" sz="1300"/>
              <a:t>Efficiently clean high-traffic areas like office spaces, hotel rooms and retail stores with the lightweight and portable design.</a:t>
            </a:r>
            <a:endParaRPr lang="en-DK" sz="1300"/>
          </a:p>
          <a:p>
            <a:pPr>
              <a:spcAft>
                <a:spcPts val="1200"/>
              </a:spcAft>
            </a:pPr>
            <a:r>
              <a:rPr lang="en-GB" sz="1300">
                <a:latin typeface="Roboto Medium" panose="02000000000000000000" pitchFamily="2" charset="0"/>
                <a:ea typeface="Roboto Medium" panose="02000000000000000000" pitchFamily="2" charset="0"/>
              </a:rPr>
              <a:t>Tight Space Cleaning: </a:t>
            </a:r>
            <a:r>
              <a:rPr lang="en-GB" sz="1300"/>
              <a:t>Compact size and manoeuvrability make them ideal for cleaning under desks, furniture, or tight corners.</a:t>
            </a:r>
            <a:endParaRPr lang="en-DK" sz="1300"/>
          </a:p>
          <a:p>
            <a:pPr>
              <a:spcAft>
                <a:spcPts val="1200"/>
              </a:spcAft>
            </a:pPr>
            <a:r>
              <a:rPr lang="en-GB" sz="1300">
                <a:latin typeface="Roboto Medium" panose="02000000000000000000" pitchFamily="2" charset="0"/>
                <a:ea typeface="Roboto Medium" panose="02000000000000000000" pitchFamily="2" charset="0"/>
              </a:rPr>
              <a:t>Long Shifts: </a:t>
            </a:r>
            <a:r>
              <a:rPr lang="en-GB" sz="1300"/>
              <a:t>Durable construction supports extended use, for cleaning teams working multiple hours daily without performance degradation.</a:t>
            </a:r>
            <a:endParaRPr lang="en-DK" sz="1300"/>
          </a:p>
          <a:p>
            <a:pPr>
              <a:spcAft>
                <a:spcPts val="1200"/>
              </a:spcAft>
            </a:pPr>
            <a:r>
              <a:rPr lang="en-GB" sz="1300">
                <a:latin typeface="Roboto Medium" panose="02000000000000000000" pitchFamily="2" charset="0"/>
                <a:ea typeface="Roboto Medium" panose="02000000000000000000" pitchFamily="2" charset="0"/>
              </a:rPr>
              <a:t>Cord Management: </a:t>
            </a:r>
            <a:r>
              <a:rPr lang="en-GB" sz="1300"/>
              <a:t>The VP400’s durable rewind system ensures easy cable storage and reduces setup/teardown time during daily operations.</a:t>
            </a:r>
          </a:p>
          <a:p>
            <a:pPr>
              <a:spcAft>
                <a:spcPts val="1200"/>
              </a:spcAft>
            </a:pPr>
            <a:r>
              <a:rPr lang="en-GB" sz="1300" err="1">
                <a:latin typeface="Roboto Medium" panose="02000000000000000000" pitchFamily="2" charset="0"/>
                <a:ea typeface="Roboto Medium" panose="02000000000000000000" pitchFamily="2" charset="0"/>
              </a:rPr>
              <a:t>Intuitivity</a:t>
            </a:r>
            <a:r>
              <a:rPr lang="en-DK" sz="1300">
                <a:latin typeface="Roboto Medium" panose="02000000000000000000" pitchFamily="2" charset="0"/>
                <a:ea typeface="Roboto Medium" panose="02000000000000000000" pitchFamily="2" charset="0"/>
              </a:rPr>
              <a:t>: </a:t>
            </a:r>
            <a:r>
              <a:rPr lang="en-DK" sz="1300"/>
              <a:t>Intuitive </a:t>
            </a:r>
            <a:r>
              <a:rPr lang="en-GB" sz="1300"/>
              <a:t>interface for easy operation, even by first time users.</a:t>
            </a:r>
          </a:p>
          <a:p>
            <a:pPr>
              <a:spcAft>
                <a:spcPts val="1200"/>
              </a:spcAft>
            </a:pPr>
            <a:r>
              <a:rPr lang="en-DK" sz="1300">
                <a:latin typeface="Roboto Medium" panose="02000000000000000000" pitchFamily="2" charset="0"/>
                <a:ea typeface="Roboto Medium" panose="02000000000000000000" pitchFamily="2" charset="0"/>
              </a:rPr>
              <a:t>Multi-surface adaptability: </a:t>
            </a:r>
            <a:r>
              <a:rPr lang="en-DK" sz="1300"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Versatile performance suits a variety of surfaces, from carpets in hotel rooms to hard floors in lobbies or kitchens.</a:t>
            </a:r>
            <a:endParaRPr lang="en-GB" sz="1300"/>
          </a:p>
          <a:p>
            <a:pPr>
              <a:spcAft>
                <a:spcPts val="1200"/>
              </a:spcAft>
            </a:pPr>
            <a:r>
              <a:rPr lang="en-GB" sz="1300">
                <a:latin typeface="Roboto Medium" panose="02000000000000000000" pitchFamily="2" charset="0"/>
                <a:ea typeface="Roboto Medium" panose="02000000000000000000" pitchFamily="2" charset="0"/>
              </a:rPr>
              <a:t>Low Maintenance: </a:t>
            </a:r>
            <a:r>
              <a:rPr lang="en-GB" sz="1300"/>
              <a:t>Reliable with easy filter changes to reduce downtime.</a:t>
            </a:r>
          </a:p>
          <a:p>
            <a:pPr>
              <a:spcAft>
                <a:spcPts val="1200"/>
              </a:spcAft>
            </a:pPr>
            <a:r>
              <a:rPr lang="en-GB" sz="1300">
                <a:latin typeface="Roboto Medium" panose="02000000000000000000" pitchFamily="2" charset="0"/>
                <a:ea typeface="Roboto Medium" panose="02000000000000000000" pitchFamily="2" charset="0"/>
              </a:rPr>
              <a:t>Quiet Operation: </a:t>
            </a:r>
            <a:r>
              <a:rPr lang="en-GB" sz="1300"/>
              <a:t>Ideal for noise-sensitive environments.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274028A-FDF6-2875-1265-9AD272889F36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344DFE8-6B2A-A514-626F-132EC0227289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7</a:t>
            </a:fld>
            <a:endParaRPr lang="en-US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7242D803-0282-32A1-6F95-307294F5F2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Key applications and jobs to be done</a:t>
            </a:r>
          </a:p>
        </p:txBody>
      </p:sp>
      <p:pic>
        <p:nvPicPr>
          <p:cNvPr id="8" name="Picture Placeholder 12">
            <a:extLst>
              <a:ext uri="{FF2B5EF4-FFF2-40B4-BE49-F238E27FC236}">
                <a16:creationId xmlns:a16="http://schemas.microsoft.com/office/drawing/2014/main" id="{01F55B04-01F3-17D1-A980-18951FE87ABD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2" b="52"/>
          <a:stretch/>
        </p:blipFill>
        <p:spPr>
          <a:xfrm>
            <a:off x="6205538" y="0"/>
            <a:ext cx="5986462" cy="6284913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B15582FE-2C6D-E490-5C22-B3B9BE7EF308}"/>
              </a:ext>
            </a:extLst>
          </p:cNvPr>
          <p:cNvSpPr txBox="1"/>
          <p:nvPr/>
        </p:nvSpPr>
        <p:spPr>
          <a:xfrm>
            <a:off x="6205537" y="5963068"/>
            <a:ext cx="5507037" cy="320257"/>
          </a:xfrm>
          <a:prstGeom prst="rect">
            <a:avLst/>
          </a:prstGeom>
          <a:noFill/>
        </p:spPr>
        <p:txBody>
          <a:bodyPr wrap="square" lIns="216000" tIns="0" rIns="0" bIns="180000" anchor="b" anchorCtr="0">
            <a:spAutoFit/>
          </a:bodyPr>
          <a:lstStyle/>
          <a:p>
            <a:r>
              <a:rPr lang="en-US" sz="900">
                <a:latin typeface="Roboto Light italic" panose="02000000000000000000" pitchFamily="2" charset="0"/>
                <a:ea typeface="Roboto Light italic" panose="02000000000000000000" pitchFamily="2" charset="0"/>
              </a:rPr>
              <a:t>Images are preliminary and may differ from final product </a:t>
            </a:r>
          </a:p>
        </p:txBody>
      </p:sp>
    </p:spTree>
    <p:extLst>
      <p:ext uri="{BB962C8B-B14F-4D97-AF65-F5344CB8AC3E}">
        <p14:creationId xmlns:p14="http://schemas.microsoft.com/office/powerpoint/2010/main" val="5823909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88EA54C-7FCE-367B-4316-E3C62E4802E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1AEDCE8F-D235-141D-3868-81A82DE6773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0"/>
            <a:ext cx="12191999" cy="6283325"/>
          </a:xfrm>
        </p:spPr>
        <p:txBody>
          <a:bodyPr/>
          <a:lstStyle/>
          <a:p>
            <a:pPr>
              <a:tabLst>
                <a:tab pos="989013" algn="l"/>
                <a:tab pos="6096000" algn="l"/>
              </a:tabLst>
            </a:pPr>
            <a:r>
              <a:rPr lang="en-US"/>
              <a:t>3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B963B47-2C6F-F226-0299-8BFEB2CD0BC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/>
              <a:t>Key features, benefits and applications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B2A0860-D5A5-7113-264A-34E39527E77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DE7A10E-6894-9429-9BD7-B78C5CF74B5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1138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Content Placeholder 23">
            <a:extLst>
              <a:ext uri="{FF2B5EF4-FFF2-40B4-BE49-F238E27FC236}">
                <a16:creationId xmlns:a16="http://schemas.microsoft.com/office/drawing/2014/main" id="{0BBDC39B-AE65-8DA9-CCE7-345BEEC0020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79425" y="2493556"/>
            <a:ext cx="3559175" cy="3780244"/>
          </a:xfrm>
        </p:spPr>
        <p:txBody>
          <a:bodyPr rIns="216000"/>
          <a:lstStyle/>
          <a:p>
            <a:pPr marL="0" indent="0" algn="ctr">
              <a:spcBef>
                <a:spcPts val="336"/>
              </a:spcBef>
              <a:spcAft>
                <a:spcPts val="600"/>
              </a:spcAft>
              <a:buNone/>
            </a:pPr>
            <a:r>
              <a:rPr lang="en-US" sz="1200">
                <a:solidFill>
                  <a:schemeClr val="tx1"/>
                </a:solidFill>
                <a:latin typeface="+mj-lt"/>
              </a:rPr>
              <a:t>Simple and intuitive</a:t>
            </a:r>
          </a:p>
          <a:p>
            <a:pPr marL="0" indent="0" algn="ctr">
              <a:spcBef>
                <a:spcPts val="336"/>
              </a:spcBef>
              <a:spcAft>
                <a:spcPts val="600"/>
              </a:spcAft>
              <a:buNone/>
              <a:defRPr/>
            </a:pPr>
            <a:r>
              <a:rPr lang="en-GB" sz="900">
                <a:solidFill>
                  <a:schemeClr val="tx2"/>
                </a:solidFill>
              </a:rPr>
              <a:t>Designed for seamless operation, our product offers intuitive touchpoints, easy bag replacement for hassle-free maintenance, and user-friendly features like a foot-operated power switch and convenient cord management. These ensure effortless use, smooth task transitions, and enable efficient, uninterrupted work every day.</a:t>
            </a:r>
            <a:r>
              <a:rPr lang="en-US" sz="900">
                <a:solidFill>
                  <a:schemeClr val="tx2"/>
                </a:solidFill>
              </a:rPr>
              <a:t> ​</a:t>
            </a:r>
          </a:p>
          <a:p>
            <a:pPr marL="0" indent="0" algn="ctr">
              <a:spcBef>
                <a:spcPts val="336"/>
              </a:spcBef>
              <a:spcAft>
                <a:spcPts val="600"/>
              </a:spcAft>
              <a:buNone/>
            </a:pPr>
            <a:endParaRPr lang="en-US" sz="1200"/>
          </a:p>
        </p:txBody>
      </p:sp>
      <p:sp>
        <p:nvSpPr>
          <p:cNvPr id="25" name="Content Placeholder 24">
            <a:extLst>
              <a:ext uri="{FF2B5EF4-FFF2-40B4-BE49-F238E27FC236}">
                <a16:creationId xmlns:a16="http://schemas.microsoft.com/office/drawing/2014/main" id="{FC6C9203-73B7-3B7A-5E12-E749C50117BD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4316412" y="2493556"/>
            <a:ext cx="3559175" cy="3780244"/>
          </a:xfrm>
        </p:spPr>
        <p:txBody>
          <a:bodyPr rIns="216000"/>
          <a:lstStyle/>
          <a:p>
            <a:pPr marL="0" indent="0" algn="ctr">
              <a:spcBef>
                <a:spcPts val="336"/>
              </a:spcBef>
              <a:spcAft>
                <a:spcPts val="600"/>
              </a:spcAft>
              <a:buNone/>
            </a:pPr>
            <a:r>
              <a:rPr lang="en-US" sz="1200">
                <a:latin typeface="+mj-lt"/>
              </a:rPr>
              <a:t>Powerful and productive</a:t>
            </a:r>
          </a:p>
          <a:p>
            <a:pPr marL="0" indent="0" algn="ctr">
              <a:spcBef>
                <a:spcPts val="336"/>
              </a:spcBef>
              <a:spcAft>
                <a:spcPts val="600"/>
              </a:spcAft>
              <a:buNone/>
              <a:defRPr/>
            </a:pPr>
            <a:r>
              <a:rPr lang="en-US" sz="900">
                <a:solidFill>
                  <a:schemeClr val="tx2"/>
                </a:solidFill>
              </a:rPr>
              <a:t>Engineered for superior performance, this range delivers a deep clean with fewer passes. Its best-in-class net-filling capacity </a:t>
            </a:r>
            <a:r>
              <a:rPr lang="en-US" sz="900" err="1">
                <a:solidFill>
                  <a:schemeClr val="tx2"/>
                </a:solidFill>
              </a:rPr>
              <a:t>minimises</a:t>
            </a:r>
            <a:r>
              <a:rPr lang="en-US" sz="900">
                <a:solidFill>
                  <a:schemeClr val="tx2"/>
                </a:solidFill>
              </a:rPr>
              <a:t> bag changes and saves costs. Compact and agile, it excels in tight spaces, and its quiet operation ensures cleaning can be done anytime without disruption.</a:t>
            </a:r>
          </a:p>
          <a:p>
            <a:pPr marL="0" indent="0" algn="ctr">
              <a:spcBef>
                <a:spcPts val="336"/>
              </a:spcBef>
              <a:spcAft>
                <a:spcPts val="600"/>
              </a:spcAft>
              <a:buNone/>
            </a:pPr>
            <a:endParaRPr lang="en-US" sz="1200"/>
          </a:p>
        </p:txBody>
      </p:sp>
      <p:sp>
        <p:nvSpPr>
          <p:cNvPr id="26" name="Content Placeholder 25">
            <a:extLst>
              <a:ext uri="{FF2B5EF4-FFF2-40B4-BE49-F238E27FC236}">
                <a16:creationId xmlns:a16="http://schemas.microsoft.com/office/drawing/2014/main" id="{965F9104-F3DE-7577-C02E-08E61C9BD0B2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153400" y="2493556"/>
            <a:ext cx="3559175" cy="3780244"/>
          </a:xfrm>
        </p:spPr>
        <p:txBody>
          <a:bodyPr rIns="216000"/>
          <a:lstStyle/>
          <a:p>
            <a:pPr marL="0" indent="0" algn="ctr">
              <a:spcBef>
                <a:spcPts val="336"/>
              </a:spcBef>
              <a:spcAft>
                <a:spcPts val="600"/>
              </a:spcAft>
              <a:buNone/>
            </a:pPr>
            <a:r>
              <a:rPr lang="en-US" sz="1200">
                <a:latin typeface="+mj-lt"/>
              </a:rPr>
              <a:t>Convenience at your feet</a:t>
            </a:r>
          </a:p>
          <a:p>
            <a:pPr marL="0" indent="0" algn="ctr">
              <a:spcBef>
                <a:spcPts val="336"/>
              </a:spcBef>
              <a:spcAft>
                <a:spcPts val="600"/>
              </a:spcAft>
              <a:buNone/>
              <a:defRPr/>
            </a:pPr>
            <a:r>
              <a:rPr lang="en-GB" sz="900">
                <a:solidFill>
                  <a:schemeClr val="tx2"/>
                </a:solidFill>
              </a:rPr>
              <a:t>Designed for ease and efficiency, our lightweight, ergonomic vacuum reduces strain and is easy to transport. Intuitive touch points and tool-free access simplify bag and filter maintenance, with easy-to-replace prefilters and HEPA filters ensuring optimal air quality while saving time. Versatile attachments are conveniently stored on the machine, keeping everything within reach for efficient, adaptable cleaning</a:t>
            </a:r>
            <a:r>
              <a:rPr lang="en-DK" sz="900">
                <a:solidFill>
                  <a:schemeClr val="tx2"/>
                </a:solidFill>
              </a:rPr>
              <a:t>.</a:t>
            </a:r>
            <a:endParaRPr lang="en-GB" sz="900">
              <a:solidFill>
                <a:schemeClr val="tx2"/>
              </a:solidFill>
            </a:endParaRPr>
          </a:p>
          <a:p>
            <a:pPr marL="0" indent="0" algn="ctr">
              <a:spcBef>
                <a:spcPts val="336"/>
              </a:spcBef>
              <a:spcAft>
                <a:spcPts val="600"/>
              </a:spcAft>
              <a:buNone/>
            </a:pPr>
            <a:endParaRPr lang="en-US" sz="120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FABC0E-0EAB-FAC8-7FEF-A55087591703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96FAD7C-7456-BF75-D99D-6EC753F5ECBA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9</a:t>
            </a:fld>
            <a:endParaRPr lang="en-US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E7CCBD3B-CB4C-5697-30A7-04CC21BDC1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Key values and benefits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A875F957-D280-5AFD-6FA3-5C10C27DF521}"/>
              </a:ext>
            </a:extLst>
          </p:cNvPr>
          <p:cNvSpPr txBox="1"/>
          <p:nvPr/>
        </p:nvSpPr>
        <p:spPr>
          <a:xfrm>
            <a:off x="479425" y="1103967"/>
            <a:ext cx="11233150" cy="103592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fontAlgn="base">
              <a:lnSpc>
                <a:spcPct val="120000"/>
              </a:lnSpc>
              <a:spcAft>
                <a:spcPts val="600"/>
              </a:spcAft>
              <a:tabLst>
                <a:tab pos="5737225" algn="l"/>
              </a:tabLst>
            </a:pPr>
            <a:r>
              <a:rPr lang="it-IT" sz="2000" i="0" spc="20">
                <a:solidFill>
                  <a:schemeClr val="accent3"/>
                </a:solidFill>
                <a:effectLst/>
                <a:latin typeface="Roboto Medium" panose="02000000000000000000" pitchFamily="2" charset="0"/>
                <a:ea typeface="Roboto Medium" panose="02000000000000000000" pitchFamily="2" charset="0"/>
              </a:rPr>
              <a:t>A</a:t>
            </a:r>
            <a:r>
              <a:rPr lang="en-DK" sz="2000" i="0" spc="20">
                <a:solidFill>
                  <a:schemeClr val="accent3"/>
                </a:solidFill>
                <a:effectLst/>
                <a:latin typeface="Roboto Medium" panose="02000000000000000000" pitchFamily="2" charset="0"/>
                <a:ea typeface="Roboto Medium" panose="02000000000000000000" pitchFamily="2" charset="0"/>
              </a:rPr>
              <a:t> new formula for simplicity </a:t>
            </a:r>
            <a:endParaRPr lang="en-GB" sz="2000" i="0" spc="20">
              <a:solidFill>
                <a:schemeClr val="accent3"/>
              </a:solidFill>
              <a:effectLst/>
              <a:latin typeface="Roboto Medium" panose="02000000000000000000" pitchFamily="2" charset="0"/>
              <a:ea typeface="Roboto Medium" panose="02000000000000000000" pitchFamily="2" charset="0"/>
            </a:endParaRPr>
          </a:p>
          <a:p>
            <a:pPr algn="ctr" fontAlgn="base">
              <a:lnSpc>
                <a:spcPct val="120000"/>
              </a:lnSpc>
              <a:spcAft>
                <a:spcPts val="600"/>
              </a:spcAft>
              <a:tabLst>
                <a:tab pos="5737225" algn="l"/>
              </a:tabLst>
            </a:pPr>
            <a:r>
              <a:rPr lang="en-GB" sz="1300" b="0" i="0">
                <a:effectLst/>
              </a:rPr>
              <a:t>For cleaning, the VP300 and VP400 are compact, high-performing machines. Improved ergonomics and a lightweight design helps to reduce strain and complies with strict health and safety requirements, elevating working conditions.</a:t>
            </a:r>
          </a:p>
        </p:txBody>
      </p:sp>
      <p:pic>
        <p:nvPicPr>
          <p:cNvPr id="29" name="Picture 2" descr="Simple and intuitive​">
            <a:extLst>
              <a:ext uri="{FF2B5EF4-FFF2-40B4-BE49-F238E27FC236}">
                <a16:creationId xmlns:a16="http://schemas.microsoft.com/office/drawing/2014/main" id="{A624F103-E988-6521-6CE5-369F673A660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79425" y="4491433"/>
            <a:ext cx="3559174" cy="17823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" name="Picture 6" descr="Convenience at your feet">
            <a:extLst>
              <a:ext uri="{FF2B5EF4-FFF2-40B4-BE49-F238E27FC236}">
                <a16:creationId xmlns:a16="http://schemas.microsoft.com/office/drawing/2014/main" id="{72D94C1F-FA7F-FAF1-D1F4-37D27C5F07E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153400" y="4491432"/>
            <a:ext cx="3559175" cy="17823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" name="Picture 4" descr="Powerful and productive​  ">
            <a:extLst>
              <a:ext uri="{FF2B5EF4-FFF2-40B4-BE49-F238E27FC236}">
                <a16:creationId xmlns:a16="http://schemas.microsoft.com/office/drawing/2014/main" id="{13F4FD20-8FAF-3681-14A6-D487F447A09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316412" y="4491433"/>
            <a:ext cx="3559174" cy="17823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875317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Nilfisk Toolbox_Standard_4-3">
  <a:themeElements>
    <a:clrScheme name="Nilfisk Color-theme">
      <a:dk1>
        <a:srgbClr val="28313F"/>
      </a:dk1>
      <a:lt1>
        <a:srgbClr val="FFFFFF"/>
      </a:lt1>
      <a:dk2>
        <a:srgbClr val="8997A4"/>
      </a:dk2>
      <a:lt2>
        <a:srgbClr val="B3BBC5"/>
      </a:lt2>
      <a:accent1>
        <a:srgbClr val="6194AA"/>
      </a:accent1>
      <a:accent2>
        <a:srgbClr val="2496BE"/>
      </a:accent2>
      <a:accent3>
        <a:srgbClr val="38AFD9"/>
      </a:accent3>
      <a:accent4>
        <a:srgbClr val="38A8B4"/>
      </a:accent4>
      <a:accent5>
        <a:srgbClr val="68C18B"/>
      </a:accent5>
      <a:accent6>
        <a:srgbClr val="F47358"/>
      </a:accent6>
      <a:hlink>
        <a:srgbClr val="38AFD9"/>
      </a:hlink>
      <a:folHlink>
        <a:srgbClr val="38AFD9"/>
      </a:folHlink>
    </a:clrScheme>
    <a:fontScheme name="Nilfisk">
      <a:majorFont>
        <a:latin typeface="Roboto Bold"/>
        <a:ea typeface=""/>
        <a:cs typeface=""/>
      </a:majorFont>
      <a:minorFont>
        <a:latin typeface="Roboto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ctr"/>
      <a:lstStyle>
        <a:defPPr algn="ctr">
          <a:defRPr sz="200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600"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Updated PowerPoint template 07-03-2022" id="{9E190E2A-A7A5-4E87-8010-778499B664C6}" vid="{A3FD54EC-67ED-411F-96C2-E7386872FA95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71FA70480891C48935BB403F91A8985" ma:contentTypeVersion="13" ma:contentTypeDescription="Create a new document." ma:contentTypeScope="" ma:versionID="b9812871a970d3979b68df8aaa426929">
  <xsd:schema xmlns:xsd="http://www.w3.org/2001/XMLSchema" xmlns:xs="http://www.w3.org/2001/XMLSchema" xmlns:p="http://schemas.microsoft.com/office/2006/metadata/properties" xmlns:ns2="b7efd724-ec55-4578-ab7a-10f2c984af51" xmlns:ns3="43102120-262f-4f6d-be7c-40f99fe7fb1e" targetNamespace="http://schemas.microsoft.com/office/2006/metadata/properties" ma:root="true" ma:fieldsID="fc0f6c1329cbedf8ef1996cf854676af" ns2:_="" ns3:_="">
    <xsd:import namespace="b7efd724-ec55-4578-ab7a-10f2c984af51"/>
    <xsd:import namespace="43102120-262f-4f6d-be7c-40f99fe7fb1e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7efd724-ec55-4578-ab7a-10f2c984af5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3" nillable="true" ma:taxonomy="true" ma:internalName="lcf76f155ced4ddcb4097134ff3c332f" ma:taxonomyFieldName="MediaServiceImageTags" ma:displayName="Image Tags" ma:readOnly="false" ma:fieldId="{5cf76f15-5ced-4ddc-b409-7134ff3c332f}" ma:taxonomyMulti="true" ma:sspId="f4d3e637-ff8d-4400-8b4f-c20cae65defd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5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9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0" nillable="true" ma:displayName="Location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3102120-262f-4f6d-be7c-40f99fe7fb1e" elementFormDefault="qualified">
    <xsd:import namespace="http://schemas.microsoft.com/office/2006/documentManagement/types"/>
    <xsd:import namespace="http://schemas.microsoft.com/office/infopath/2007/PartnerControls"/>
    <xsd:element name="TaxCatchAll" ma:index="14" nillable="true" ma:displayName="Taxonomy Catch All Column" ma:hidden="true" ma:list="{507ec5ed-f84e-4598-910f-e95687870f5f}" ma:internalName="TaxCatchAll" ma:showField="CatchAllData" ma:web="43102120-262f-4f6d-be7c-40f99fe7fb1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b7efd724-ec55-4578-ab7a-10f2c984af51">
      <Terms xmlns="http://schemas.microsoft.com/office/infopath/2007/PartnerControls"/>
    </lcf76f155ced4ddcb4097134ff3c332f>
    <TaxCatchAll xmlns="43102120-262f-4f6d-be7c-40f99fe7fb1e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EAB0F6CB-DED9-4560-9F66-ADC390A575A5}">
  <ds:schemaRefs>
    <ds:schemaRef ds:uri="43102120-262f-4f6d-be7c-40f99fe7fb1e"/>
    <ds:schemaRef ds:uri="b7efd724-ec55-4578-ab7a-10f2c984af51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2035D97F-54F6-4139-90B1-4BC360E16E53}">
  <ds:schemaRefs>
    <ds:schemaRef ds:uri="1b808c17-2139-49cd-a317-8fc80a969d6a"/>
    <ds:schemaRef ds:uri="43102120-262f-4f6d-be7c-40f99fe7fb1e"/>
    <ds:schemaRef ds:uri="4CFF4DF0-C362-4CE3-BC8D-D55629784E08"/>
    <ds:schemaRef ds:uri="6957957d-4a92-4580-a2cf-b69d4e975ccd"/>
    <ds:schemaRef ds:uri="a51901c0-0402-4d12-9849-aea77cadd7ee"/>
    <ds:schemaRef ds:uri="b7efd724-ec55-4578-ab7a-10f2c984af51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microsoft.com/sharepoint/v3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08D9CF25-2968-4E35-9D7F-AFFFC6CD9F65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Nilfisk PTT template</Template>
  <Application>Microsoft Office PowerPoint</Application>
  <PresentationFormat>Widescreen</PresentationFormat>
  <Slides>22</Slides>
  <Notes>3</Notes>
  <HiddenSlides>0</HiddenSlide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22</vt:i4>
      </vt:variant>
    </vt:vector>
  </HeadingPairs>
  <TitlesOfParts>
    <vt:vector size="23" baseType="lpstr">
      <vt:lpstr>Nilfisk Toolbox_Standard_4-3</vt:lpstr>
      <vt:lpstr>PowerPoint Presentation</vt:lpstr>
      <vt:lpstr>PowerPoint Presentation</vt:lpstr>
      <vt:lpstr>Compact Dry Vacuum</vt:lpstr>
      <vt:lpstr>2</vt:lpstr>
      <vt:lpstr>Target segments </vt:lpstr>
      <vt:lpstr>VP300 &amp; VP400 at a glance</vt:lpstr>
      <vt:lpstr>Key applications and jobs to be done</vt:lpstr>
      <vt:lpstr>3</vt:lpstr>
      <vt:lpstr>Key values and benefits</vt:lpstr>
      <vt:lpstr>Key features and design </vt:lpstr>
      <vt:lpstr>Key features and design </vt:lpstr>
      <vt:lpstr>New range upgrades</vt:lpstr>
      <vt:lpstr>Sales demo – VIDEO TO BE REPLACED WITH THE ONE THAT DOESN'T SAY CANISTER</vt:lpstr>
      <vt:lpstr>4</vt:lpstr>
      <vt:lpstr>VP300 Summary</vt:lpstr>
      <vt:lpstr>VP400 Summary</vt:lpstr>
      <vt:lpstr>VP300 Technical spec</vt:lpstr>
      <vt:lpstr>VP300 Configuration</vt:lpstr>
      <vt:lpstr>VP400 Technical Spec</vt:lpstr>
      <vt:lpstr>VP400 Configuration</vt:lpstr>
      <vt:lpstr>VP300 Hierarchy</vt:lpstr>
      <vt:lpstr>VP400 Hierarchy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MS365-02 Inbold</dc:creator>
  <cp:revision>19</cp:revision>
  <dcterms:created xsi:type="dcterms:W3CDTF">2024-12-18T09:19:17Z</dcterms:created>
  <dcterms:modified xsi:type="dcterms:W3CDTF">2025-02-25T10:32:2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XPowerLiteLastOptimized">
    <vt:lpwstr>2578482</vt:lpwstr>
  </property>
  <property fmtid="{D5CDD505-2E9C-101B-9397-08002B2CF9AE}" pid="3" name="NXPowerLiteSettings">
    <vt:lpwstr>A74006B004C800</vt:lpwstr>
  </property>
  <property fmtid="{D5CDD505-2E9C-101B-9397-08002B2CF9AE}" pid="4" name="NXPowerLiteVersion">
    <vt:lpwstr>D5.0.2</vt:lpwstr>
  </property>
  <property fmtid="{D5CDD505-2E9C-101B-9397-08002B2CF9AE}" pid="5" name="ContentTypeId">
    <vt:lpwstr>0x010100E71FA70480891C48935BB403F91A8985</vt:lpwstr>
  </property>
  <property fmtid="{D5CDD505-2E9C-101B-9397-08002B2CF9AE}" pid="6" name="MSIP_Label_8af657d4-2045-4871-9872-e323e3545d60_Enabled">
    <vt:lpwstr>true</vt:lpwstr>
  </property>
  <property fmtid="{D5CDD505-2E9C-101B-9397-08002B2CF9AE}" pid="7" name="MSIP_Label_8af657d4-2045-4871-9872-e323e3545d60_SetDate">
    <vt:lpwstr>2022-03-07T09:52:37Z</vt:lpwstr>
  </property>
  <property fmtid="{D5CDD505-2E9C-101B-9397-08002B2CF9AE}" pid="8" name="MSIP_Label_8af657d4-2045-4871-9872-e323e3545d60_Method">
    <vt:lpwstr>Privileged</vt:lpwstr>
  </property>
  <property fmtid="{D5CDD505-2E9C-101B-9397-08002B2CF9AE}" pid="9" name="MSIP_Label_8af657d4-2045-4871-9872-e323e3545d60_Name">
    <vt:lpwstr>Open sublabel</vt:lpwstr>
  </property>
  <property fmtid="{D5CDD505-2E9C-101B-9397-08002B2CF9AE}" pid="10" name="MSIP_Label_8af657d4-2045-4871-9872-e323e3545d60_SiteId">
    <vt:lpwstr>753c5d99-05be-4237-b4c5-fdb2e6b32ab2</vt:lpwstr>
  </property>
  <property fmtid="{D5CDD505-2E9C-101B-9397-08002B2CF9AE}" pid="11" name="MSIP_Label_8af657d4-2045-4871-9872-e323e3545d60_ActionId">
    <vt:lpwstr>dc55aacb-2282-478e-992e-416176343d0e</vt:lpwstr>
  </property>
  <property fmtid="{D5CDD505-2E9C-101B-9397-08002B2CF9AE}" pid="12" name="MSIP_Label_8af657d4-2045-4871-9872-e323e3545d60_ContentBits">
    <vt:lpwstr>0</vt:lpwstr>
  </property>
  <property fmtid="{D5CDD505-2E9C-101B-9397-08002B2CF9AE}" pid="13" name="MediaServiceImageTags">
    <vt:lpwstr/>
  </property>
</Properties>
</file>